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diagrams/data1.xml" ContentType="application/vnd.openxmlformats-officedocument.drawingml.diagramData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173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ink/ink7.xml" ContentType="application/inkml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ink/ink6.xml" ContentType="application/inkml+xml"/>
  <Override PartName="/ppt/ink/ink1.xml" ContentType="application/inkml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ink/ink9.xml" ContentType="application/inkml+xml"/>
  <Override PartName="/ppt/ink/ink5.xml" ContentType="application/inkml+xml"/>
  <Override PartName="/ppt/ink/ink4.xml" ContentType="application/inkml+xml"/>
  <Override PartName="/ppt/ink/ink3.xml" ContentType="application/inkml+xml"/>
  <Override PartName="/ppt/ink/ink2.xml" ContentType="application/inkml+xml"/>
  <Override PartName="/ppt/ink/ink8.xml" ContentType="application/inkml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0" r:id="rId1"/>
    <p:sldMasterId id="2147483849" r:id="rId2"/>
    <p:sldMasterId id="2147483878" r:id="rId3"/>
    <p:sldMasterId id="2147483907" r:id="rId4"/>
    <p:sldMasterId id="2147484155" r:id="rId5"/>
    <p:sldMasterId id="2147484187" r:id="rId6"/>
    <p:sldMasterId id="2147484216" r:id="rId7"/>
    <p:sldMasterId id="2147484229" r:id="rId8"/>
  </p:sldMasterIdLst>
  <p:notesMasterIdLst>
    <p:notesMasterId r:id="rId23"/>
  </p:notesMasterIdLst>
  <p:handoutMasterIdLst>
    <p:handoutMasterId r:id="rId24"/>
  </p:handoutMasterIdLst>
  <p:sldIdLst>
    <p:sldId id="256" r:id="rId9"/>
    <p:sldId id="2197" r:id="rId10"/>
    <p:sldId id="2147473820" r:id="rId11"/>
    <p:sldId id="2147473822" r:id="rId12"/>
    <p:sldId id="901" r:id="rId13"/>
    <p:sldId id="2147473824" r:id="rId14"/>
    <p:sldId id="2145706097" r:id="rId15"/>
    <p:sldId id="2145706116" r:id="rId16"/>
    <p:sldId id="2145706121" r:id="rId17"/>
    <p:sldId id="2145706091" r:id="rId18"/>
    <p:sldId id="2145706118" r:id="rId19"/>
    <p:sldId id="2147473825" r:id="rId20"/>
    <p:sldId id="265" r:id="rId21"/>
    <p:sldId id="346" r:id="rId22"/>
  </p:sldIdLst>
  <p:sldSz cx="9144000" cy="5143500" type="screen16x9"/>
  <p:notesSz cx="6858000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9A1881-A907-4187-B390-89AF35AD01D0}">
          <p14:sldIdLst>
            <p14:sldId id="256"/>
            <p14:sldId id="2197"/>
            <p14:sldId id="2147473820"/>
            <p14:sldId id="2147473822"/>
            <p14:sldId id="901"/>
            <p14:sldId id="2147473824"/>
            <p14:sldId id="2145706097"/>
            <p14:sldId id="2145706116"/>
            <p14:sldId id="2145706121"/>
            <p14:sldId id="2145706091"/>
            <p14:sldId id="2145706118"/>
            <p14:sldId id="2147473825"/>
            <p14:sldId id="265"/>
            <p14:sldId id="34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B0B8"/>
    <a:srgbClr val="F2F2F2"/>
    <a:srgbClr val="4DBAC1"/>
    <a:srgbClr val="A6A6A6"/>
    <a:srgbClr val="66C4CA"/>
    <a:srgbClr val="1AA6AF"/>
    <a:srgbClr val="009CA6"/>
    <a:srgbClr val="000000"/>
    <a:srgbClr val="B580D1"/>
    <a:srgbClr val="ADDC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82180" autoAdjust="0"/>
  </p:normalViewPr>
  <p:slideViewPr>
    <p:cSldViewPr snapToGrid="0" snapToObjects="1">
      <p:cViewPr varScale="1">
        <p:scale>
          <a:sx n="72" d="100"/>
          <a:sy n="72" d="100"/>
        </p:scale>
        <p:origin x="1028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napToObjects="1" showGuides="1">
      <p:cViewPr varScale="1">
        <p:scale>
          <a:sx n="146" d="100"/>
          <a:sy n="146" d="100"/>
        </p:scale>
        <p:origin x="383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3F11EA-5522-4D87-8E1C-22C62F819BA5}" type="doc">
      <dgm:prSet loTypeId="urn:microsoft.com/office/officeart/2005/8/layout/pyramid1" loCatId="pyramid" qsTypeId="urn:microsoft.com/office/officeart/2005/8/quickstyle/simple4" qsCatId="simple" csTypeId="urn:microsoft.com/office/officeart/2005/8/colors/accent3_3" csCatId="accent3" phldr="1"/>
      <dgm:spPr/>
    </dgm:pt>
    <dgm:pt modelId="{41937A89-A793-4F53-90B4-FBD100FF5393}" type="pres">
      <dgm:prSet presAssocID="{423F11EA-5522-4D87-8E1C-22C62F819BA5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5AFC09C3-86E5-4746-873C-DA48164E2425}" type="presOf" srcId="{423F11EA-5522-4D87-8E1C-22C62F819BA5}" destId="{41937A89-A793-4F53-90B4-FBD100FF5393}" srcOrd="0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41E225-94EE-A148-AA0C-EB5EB3C43945}" type="datetimeFigureOut">
              <a:rPr lang="en-GB"/>
              <a:pPr/>
              <a:t>15/10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4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FB09E0-623F-C440-81E1-36D959289F4F}" type="slidenum">
              <a:rPr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77444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0-11-23T09:58:59.24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4 1 3524 0 0,'0'0'864'0'0,"-14"1"-2940"0"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1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642 916 24575,'-3'-2'0,"-1"1"0,1-1 0,-1 0 0,1 0 0,0 0 0,0 0 0,0 0 0,0-1 0,1 1 0,-1-1 0,0 0 0,1 0 0,0 0 0,0 0 0,0 0 0,-2-4 0,-10-12 0,2 6 0,-1 0 0,0 1 0,0 0 0,-2 2 0,1-1 0,-1 2 0,-1 0 0,1 0 0,-23-7 0,-3 0 0,0 2 0,-77-16 0,68 20 0,-1 2 0,-93-2 0,30 13 0,-195-6 0,161-17 0,130 15 0,1 0 0,-1-1 0,1-1 0,1 0 0,-1-1 0,1-1 0,-16-12 0,19 11 0,1-1 0,0 0 0,0-1 0,2 0 0,-1 0 0,2-1 0,-1-1 0,-11-24 0,-3-8 0,3 4 0,-29-79 0,39 84-341,1-1 0,2 0-1,-5-53 1,13 76-648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1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30 95 24575,'-38'-35'0,"31"31"0,1 1 0,1 0 0,-1-1 0,1 1 0,0-1 0,0 0 0,-6-7 0,-22-9-195,24 16-97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048 1222 24575,'-13'0'0,"1"-2"0,0 0 0,0 0 0,-1-1 0,2 0 0,-1-1 0,0-1 0,1 0 0,0 0 0,0-1 0,0 0 0,1-1 0,0-1 0,-15-13 0,14 12 0,-1 1 0,-1 1 0,1-1 0,-1 2 0,-26-10 0,24 10 0,0 0 0,1-1 0,-1 0 0,-17-13 0,-34-22 0,53 35 0,-1-1 0,1 0 0,1-1 0,-1 0 0,2-1 0,-15-15 0,-25-40 0,-44-75 0,25 36 0,67 100 0,-12-16 0,1-1 0,1-1 0,-20-45 0,0-13 0,16 44 0,-17-60 0,23 62 0,0 1 0,-3 0 0,-21-39 0,-9-9-1365,34 64-546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83 115 24575,'0'-4'0,"-5"-2"0,-1-4 0,-4-5 0,-5-5 0,0-2 0,-1 1 0,1 5-819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2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70 115 24575,'-35'-25'0,"13"16"0,0-2 0,1 0 0,0-1 0,-24-20 0,45 32 0,0 0 0,0 0 0,0 0 0,-1 0 0,1 0 0,0 0 0,0-1 0,0 1 0,-1 0 0,1 0 0,0 0 0,0 0 0,0-1 0,0 1 0,0 0 0,-1 0 0,1 0 0,0-1 0,0 1 0,0 0 0,0 0 0,0-1 0,0 1 0,0 0 0,0 0 0,0 0 0,0-1 0,0 1 0,0 0 0,0 0 0,0-1 0,0 1 0,0 0 0,0 0 0,0-1 0,0 1 0,0 0 0,1 0 0,-1 0 0,0-1 0,0 1 0,0 0 0,12-5 0,-9 4 0,-1 1 0,1 0 0,-1 0 0,1-1 0,-1 1 0,1 1 0,-1-1 0,1 0 0,-1 1 0,4 1 0,16 13 49,11 6-1463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223 96 24575,'-11'-2'0,"1"0"0,0-1 0,0 0 0,1-1 0,-1 0 0,1-1 0,0 0 0,-11-8 0,8 5 0,-1 1 0,1 1 0,-1 0 0,-23-7 0,-2-1 0,43 14 0,1 1 0,0-1 0,1 1 0,-1 0 0,0 1 0,9 3 0,130 66 0,-130-64-119,-5-1-89,1 0 0,-1 0 1,0 1-1,0 0 1,8 9-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4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2532 24575,'59'0'0,"-5"1"0,101-11 0,-137 7 0,0 0 0,0-2 0,0 0 0,-1-1 0,1-1 0,-2-1 0,1 0 0,-1-1 0,21-16 0,6-9 0,-2-2 0,-2-2 0,62-77 0,85-146 0,-47 61 0,23-28 0,143-266 0,-224 323 0,-37 75 0,85-206 0,-86 187 0,-15 37 0,42-83 0,-47 125-13,-18 30-110,-1 0 0,0 0 0,0 0 0,-1 0 0,1 0 0,-1-1 1,-1 0-1,1 0 0,-1 0 0,1-7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4-22T08:09:50.62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37 27 24575,'-25'1'0,"-36"-1"0,57 0 0,0 0 0,0-1 0,0 1 0,0-1 0,0 0 0,0 0 0,1-1 0,-1 1 0,0-1 0,1 0 0,-6-3 0,47-6 0,26 11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1F7DE-25C9-234A-82AE-C555C6A20847}" type="datetimeFigureOut">
              <a:rPr lang="en-GB"/>
              <a:pPr/>
              <a:t>15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15154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4193C2-13BD-8144-A752-BE5B15E8057F}" type="slidenum">
              <a:rPr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1006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4990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buFont typeface="Symbol" panose="05050102010706020507" pitchFamily="18" charset="2"/>
              <a:buNone/>
              <a:tabLst>
                <a:tab pos="228600" algn="l"/>
              </a:tabLst>
            </a:pP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Where we normally see our meters being used:</a:t>
            </a:r>
          </a:p>
          <a:p>
            <a:pPr marL="800100" lvl="1" indent="-342900">
              <a:lnSpc>
                <a:spcPct val="115000"/>
              </a:lnSpc>
              <a:buFont typeface="Symbol" panose="05050102010706020507" pitchFamily="18" charset="2"/>
              <a:buChar char=""/>
              <a:tabLst>
                <a:tab pos="228600" algn="l"/>
              </a:tabLst>
            </a:pP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bmetering residential </a:t>
            </a:r>
          </a:p>
          <a:p>
            <a:pPr marL="800100" lvl="1" indent="-342900">
              <a:lnSpc>
                <a:spcPct val="115000"/>
              </a:lnSpc>
              <a:buFont typeface="Symbol" panose="05050102010706020507" pitchFamily="18" charset="2"/>
              <a:buChar char=""/>
              <a:tabLst>
                <a:tab pos="228600" algn="l"/>
              </a:tabLst>
            </a:pPr>
            <a:r>
              <a:rPr lang="en-US" sz="1200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mercial (office buildings / schools / hospitals / process units) </a:t>
            </a:r>
          </a:p>
          <a:p>
            <a:pPr marL="800100" lvl="1" indent="-342900">
              <a:lnSpc>
                <a:spcPct val="115000"/>
              </a:lnSpc>
              <a:buFont typeface="Symbol" panose="05050102010706020507" pitchFamily="18" charset="2"/>
              <a:buChar char=""/>
              <a:tabLst>
                <a:tab pos="228600" algn="l"/>
              </a:tabLst>
            </a:pP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ouseholds</a:t>
            </a:r>
          </a:p>
          <a:p>
            <a:pPr marL="800100" lvl="1" indent="-342900">
              <a:lnSpc>
                <a:spcPct val="115000"/>
              </a:lnSpc>
              <a:buFont typeface="Symbol" panose="05050102010706020507" pitchFamily="18" charset="2"/>
              <a:buChar char=""/>
              <a:tabLst>
                <a:tab pos="228600" algn="l"/>
              </a:tabLst>
            </a:pPr>
            <a:r>
              <a:rPr lang="en-US" sz="12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dustrial</a:t>
            </a:r>
            <a:endParaRPr lang="da-DK" sz="1200" b="1" kern="100" dirty="0">
              <a:solidFill>
                <a:srgbClr val="0F4761"/>
              </a:solidFill>
              <a:effectLst/>
              <a:latin typeface="Aptos" panose="020B0004020202020204" pitchFamily="34" charset="0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buFont typeface="Symbol" panose="05050102010706020507" pitchFamily="18" charset="2"/>
              <a:buNone/>
              <a:tabLst>
                <a:tab pos="228600" algn="l"/>
              </a:tabLst>
            </a:pPr>
            <a:r>
              <a:rPr lang="en-US" sz="1200" b="1" kern="100" dirty="0">
                <a:solidFill>
                  <a:srgbClr val="0F4761"/>
                </a:solidFill>
                <a:effectLst/>
                <a:latin typeface="Aptos" panose="020B0004020202020204" pitchFamily="34" charset="0"/>
                <a:ea typeface="DengXian Light" panose="02010600030101010101" pitchFamily="2" charset="-122"/>
                <a:cs typeface="Times New Roman" panose="02020603050405020304" pitchFamily="18" charset="0"/>
              </a:rPr>
              <a:t>Important to remember that there are no rules regarding what meters that can be used for what, all meters can be used in all segments. </a:t>
            </a:r>
            <a:endParaRPr lang="da-DK" sz="1200" b="1" kern="100" dirty="0">
              <a:solidFill>
                <a:srgbClr val="0F4761"/>
              </a:solidFill>
              <a:effectLst/>
              <a:latin typeface="Aptos" panose="020B0004020202020204" pitchFamily="34" charset="0"/>
              <a:ea typeface="DengXian Light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9361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Regulations, benefits etc.</a:t>
            </a:r>
          </a:p>
          <a:p>
            <a:endParaRPr lang="en-US" noProof="0" dirty="0"/>
          </a:p>
          <a:p>
            <a:r>
              <a:rPr lang="en-US" noProof="0" dirty="0"/>
              <a:t>MID, Integrator, flow part, sensors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3335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Best Practice, Being modfied, achievable norm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228957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12824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4193C2-13BD-8144-A752-BE5B15E8057F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491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9949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Important to mention this is an overview of current thinking and not the final product.</a:t>
            </a:r>
          </a:p>
          <a:p>
            <a:endParaRPr lang="da-DK" dirty="0"/>
          </a:p>
          <a:p>
            <a:r>
              <a:rPr lang="en-US" dirty="0"/>
              <a:t>A well-designed heat network uses vastly less energy when compared to individual gas-fired boilers. With the combination of renewable energy sources, carbon emissions are also lowered.</a:t>
            </a:r>
            <a:endParaRPr lang="da-DK" dirty="0"/>
          </a:p>
          <a:p>
            <a:endParaRPr lang="da-DK" dirty="0"/>
          </a:p>
          <a:p>
            <a:r>
              <a:rPr lang="en-US" dirty="0"/>
              <a:t>Currently around 17’000 heat networks registered in the UK, serving domestic, public and commercial buildings. This is set to increase, with the Department for Business, Energy and Industrial Strategy (BEIS)</a:t>
            </a:r>
            <a:endParaRPr lang="da-DK" dirty="0"/>
          </a:p>
          <a:p>
            <a:endParaRPr lang="da-DK" dirty="0"/>
          </a:p>
          <a:p>
            <a:r>
              <a:rPr lang="da-DK" dirty="0"/>
              <a:t>Heat networks currently provide 2-3% of the UK’s Heat – The Governments net zero strategy recommendation proposes a 18% increase and is predicted to be roughly 43% by 2050.</a:t>
            </a:r>
          </a:p>
          <a:p>
            <a:endParaRPr lang="da-DK" dirty="0"/>
          </a:p>
          <a:p>
            <a:r>
              <a:rPr lang="da-DK" dirty="0"/>
              <a:t>In support of the market development, heat networks are to become regulated in 2025, similar to the gas and electricity utility.</a:t>
            </a:r>
          </a:p>
          <a:p>
            <a:endParaRPr lang="da-DK" dirty="0"/>
          </a:p>
          <a:p>
            <a:r>
              <a:rPr lang="en-US" dirty="0"/>
              <a:t>The energy center; district distribution pipework; communal distribution pipework within the building; substations; consumer connections (heat interface units –HIUs); and consumer heat systems.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86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n-US" noProof="0" dirty="0"/>
          </a:p>
          <a:p>
            <a:r>
              <a:rPr lang="en-US" noProof="0" dirty="0"/>
              <a:t>Bullet point 1 - The UK regulations relate to any distribution of thermal energy from a central</a:t>
            </a:r>
          </a:p>
          <a:p>
            <a:r>
              <a:rPr lang="en-US" noProof="0" dirty="0"/>
              <a:t>source to more than one end user, building or location for the purposes of heating,</a:t>
            </a:r>
          </a:p>
          <a:p>
            <a:r>
              <a:rPr lang="en-US" noProof="0" dirty="0"/>
              <a:t>cooling or hot water supply.</a:t>
            </a:r>
          </a:p>
          <a:p>
            <a:endParaRPr lang="en-US" noProof="0" dirty="0"/>
          </a:p>
          <a:p>
            <a:r>
              <a:rPr lang="en-US" noProof="0" dirty="0"/>
              <a:t>Bullet point 2 – The person or body ultimately responsible for supplying and charging these end</a:t>
            </a:r>
          </a:p>
          <a:p>
            <a:r>
              <a:rPr lang="en-US" noProof="0" dirty="0"/>
              <a:t>users (termed a ‘heat supplier’) and is obligated to meet three key stipulations, explained</a:t>
            </a:r>
          </a:p>
          <a:p>
            <a:r>
              <a:rPr lang="en-US" noProof="0" dirty="0"/>
              <a:t>on the point.</a:t>
            </a:r>
          </a:p>
          <a:p>
            <a:endParaRPr lang="en-US" noProof="0" dirty="0"/>
          </a:p>
          <a:p>
            <a:r>
              <a:rPr lang="en-US" noProof="0" dirty="0"/>
              <a:t>Notification: Regulation 3 states each heat supplier must inform OPSS about the location of any</a:t>
            </a:r>
          </a:p>
          <a:p>
            <a:r>
              <a:rPr lang="en-US" noProof="0" dirty="0"/>
              <a:t>district heat network or communal heating scheme - as well as its capacity and supply</a:t>
            </a:r>
          </a:p>
          <a:p>
            <a:r>
              <a:rPr lang="en-US" noProof="0" dirty="0"/>
              <a:t>figures. Each building forming part of the network must also be identified, along with</a:t>
            </a:r>
          </a:p>
          <a:p>
            <a:r>
              <a:rPr lang="en-US" noProof="0" dirty="0"/>
              <a:t>the number of customers using it – Renotification after every 4 years.</a:t>
            </a:r>
          </a:p>
          <a:p>
            <a:endParaRPr lang="en-US" noProof="0" dirty="0"/>
          </a:p>
          <a:p>
            <a:r>
              <a:rPr lang="en-US" noProof="0" dirty="0"/>
              <a:t>Metering: </a:t>
            </a:r>
          </a:p>
          <a:p>
            <a:r>
              <a:rPr lang="en-US" noProof="0" dirty="0"/>
              <a:t>Point of entry - The duty to install meters covers point of entry meters for buildings with one or more</a:t>
            </a:r>
          </a:p>
          <a:p>
            <a:r>
              <a:rPr lang="en-US" noProof="0" dirty="0"/>
              <a:t>customers connected to a heat network. Installing point of entry meters (also known</a:t>
            </a:r>
          </a:p>
          <a:p>
            <a:r>
              <a:rPr lang="en-US" noProof="0" dirty="0"/>
              <a:t>as ‘bulk’ meters) is mandatory</a:t>
            </a:r>
          </a:p>
          <a:p>
            <a:endParaRPr lang="en-US" noProof="0" dirty="0"/>
          </a:p>
          <a:p>
            <a:r>
              <a:rPr lang="en-US" noProof="0" dirty="0"/>
              <a:t>Final Customer meters: The duty to install meters also covers final customer meters in buildings with more</a:t>
            </a:r>
          </a:p>
          <a:p>
            <a:r>
              <a:rPr lang="en-US" noProof="0" dirty="0"/>
              <a:t>than one customer connected to a heat network. – Mandatory in new developments.</a:t>
            </a:r>
          </a:p>
          <a:p>
            <a:endParaRPr lang="en-US" noProof="0" dirty="0"/>
          </a:p>
          <a:p>
            <a:r>
              <a:rPr lang="en-US" noProof="0" dirty="0"/>
              <a:t>Billing - End users must be billed using actual meter readings (rather than estimates) at least</a:t>
            </a:r>
          </a:p>
          <a:p>
            <a:r>
              <a:rPr lang="en-US" noProof="0" dirty="0"/>
              <a:t>once a year.</a:t>
            </a:r>
          </a:p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4193C2-13BD-8144-A752-BE5B15E8057F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0973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4193C2-13BD-8144-A752-BE5B15E8057F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5277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Range of sizes 15mm – 300mm</a:t>
            </a:r>
          </a:p>
          <a:p>
            <a:r>
              <a:rPr lang="en-US" noProof="0" dirty="0"/>
              <a:t>Temp sensors length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73531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British Standards Document - BS EN 1434-1</a:t>
            </a:r>
          </a:p>
          <a:p>
            <a:r>
              <a:rPr lang="en-US" noProof="0" dirty="0"/>
              <a:t>Thermal energy meters. General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4193C2-13BD-8144-A752-BE5B15E8057F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13092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82791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ost used application = The Billing appli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4193C2-13BD-8144-A752-BE5B15E8057F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3361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emf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png"/><Relationship Id="rId4" Type="http://schemas.openxmlformats.org/officeDocument/2006/relationships/image" Target="../media/image17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emf"/><Relationship Id="rId4" Type="http://schemas.openxmlformats.org/officeDocument/2006/relationships/image" Target="../media/image7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emf"/><Relationship Id="rId4" Type="http://schemas.openxmlformats.org/officeDocument/2006/relationships/image" Target="../media/image7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C7094B27-9636-475F-BFF1-450575226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7BF99E7-8E13-49EE-B157-76F8A6477EE1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A54C769-2A75-CA42-A6CC-58C1ED6C8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dirty="0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21266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11">
            <a:extLst>
              <a:ext uri="{FF2B5EF4-FFF2-40B4-BE49-F238E27FC236}">
                <a16:creationId xmlns:a16="http://schemas.microsoft.com/office/drawing/2014/main" id="{94695BA4-F4E2-44E1-9EF6-CAFFED6C7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09C1F70-7332-4609-BA73-9430AC8C191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CD01C6B-B607-47F6-BDA5-BC315A691CC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B28C9DD-E739-4186-A4EC-6E79682DEEF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C92E5BD-6C5E-4881-B248-4272D45895ED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78C7E8D9-CCCC-4294-A751-D4AADFAAF6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0C7AC2C0-91D7-42A6-A0F0-7561BD72337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663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13840727-5A98-F243-A7A4-E83A37178D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0">
            <a:extLst>
              <a:ext uri="{FF2B5EF4-FFF2-40B4-BE49-F238E27FC236}">
                <a16:creationId xmlns:a16="http://schemas.microsoft.com/office/drawing/2014/main" id="{B78A1075-47B3-874C-B351-BE5817168E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567A5C47-9281-F14C-BFE0-E3C1C4638F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640C959-0D42-F246-83B4-532651C77B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2F18845-B72A-424B-A506-29EBB3D26EF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CBC7EFF0-EBDC-4951-B879-780F838B9B22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54FD273-438B-4241-B2B3-C51E2913B88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C7B5406-21C9-4F65-97DF-36C2E84EEEB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542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F4040793-5111-EB47-9045-AD382FC9AA0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9664BC7B-F703-2F46-BDB9-3FDA8D1C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655CB392-0E08-AA42-8D93-F4A63C8CD2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E8094319-BE67-6D4D-A601-C06512E93D6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F12D74E8-C226-AB42-A1E6-4D7B458E2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7A78CE56-247C-D940-A775-3A43EA3EF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25D57B7-CFBF-41C6-BD2A-3B9BBE0324D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C570744A-70BA-4B36-8BDB-D3F783637B6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314F033-AA68-41F8-83DC-A220023A401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67C66C3-4481-41BE-8C86-E7619E613E3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6976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D20AE002-BDC6-5341-AD72-867812F55B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13D1A9BE-FD86-2447-B7C3-EE8257BAE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083A1E10-D37A-5A43-9618-8633FCF4B9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B523A8E2-B4BE-8847-8E48-4F2D26F928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461D0C80-AF59-1D4A-AE3D-97FA6FC7D1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0D944F9D-D1CF-8C47-B3D0-7A553074CD9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7C92E54-3E99-472C-9C87-33E223E5C544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91D224E5-DBC4-4B66-A66F-A923C9E1995B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8A0348C-1857-47AE-B35C-4D3DDF4B379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9ABA1BF-8445-4D8C-A734-E415C37F0E2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4804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2">
            <a:extLst>
              <a:ext uri="{FF2B5EF4-FFF2-40B4-BE49-F238E27FC236}">
                <a16:creationId xmlns:a16="http://schemas.microsoft.com/office/drawing/2014/main" id="{3C1D9266-281C-9741-B384-635476C237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9978D278-D7AF-7345-9F80-CEF445A243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48B71F9-DFDB-4733-BCE9-F7E89696FF1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5734B6E-AB08-48CD-BA37-0A73456FF0C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1434479-5ED0-4D01-A183-2E54EBE2C7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74D354C-09D2-4EB7-B0F7-DA24AC8614F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0967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E5FE33E-5D95-1744-B094-A3C28B77B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65594A2E-4492-344A-8B40-1BFBD5861B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577A5EF4-422A-BE45-892B-25636841D012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0AA1F092-1B66-E64B-8394-2828DDC2B5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CDEEAE1-673E-40B1-AB9B-528E14E68A5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7180A7F2-2092-4AE8-A635-8493346188A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BD15182-3A26-46BF-837A-F417E09D33A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DDAACD68-BF02-4388-9DCE-B24461FB14E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04992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3">
            <a:extLst>
              <a:ext uri="{FF2B5EF4-FFF2-40B4-BE49-F238E27FC236}">
                <a16:creationId xmlns:a16="http://schemas.microsoft.com/office/drawing/2014/main" id="{2BE9B87B-3D0F-EB4C-AAC7-523D3ED9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9C81AE8B-1051-FA49-87F3-C81703A43A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8EC75547-81D1-004F-A133-F812A38EE66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82149B83-974E-C24E-8A5B-B6528AD3FDD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8BA295-AEDF-4C42-9361-930E9CE596B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8A9EFA7B-40D1-534A-B5E8-C3ECC39887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C2B6533-C4B5-B849-B9F0-E6A4E3A7CA5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53B17EE7-EFED-494B-AE1B-2FE142692E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CACA152-C2ED-4B93-91AC-6B31A94B3866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C4598891-4A54-4BCA-AD35-384DDE64177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C01301B-9957-4F1B-9AAE-2468645FC543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BB86F85-1F0E-4AC2-B0AF-1BCCE6E6F40D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4437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3">
            <a:extLst>
              <a:ext uri="{FF2B5EF4-FFF2-40B4-BE49-F238E27FC236}">
                <a16:creationId xmlns:a16="http://schemas.microsoft.com/office/drawing/2014/main" id="{83FCA6A4-DB3F-7F4F-97E8-5634974F98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7D1939A8-2910-5F42-BEF6-2C5201319B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91486B1E-2F88-0E44-A651-173BDB2D4DB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E8FD4F8E-9871-BB4C-8483-CB991CF8AB8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022F02C7-8570-AC4A-8286-8F70DDF2D6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E77CD4F2-0727-5F43-9628-76673BD326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76911E5-DC5A-2A47-9B4B-C99952EB33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A8C3B942-92DD-664D-8D2D-B52379174DE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6CD6186-5281-114E-BAE9-09F1E43A3B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499DEEF-30AA-C448-8CE5-831289AC5F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C2376E7-B393-4241-90F0-1E5DB9B15793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A188928B-08C8-4FC1-BB7D-BA904EDB8D22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E487065F-0D0D-4DCB-8F12-3D365A99CA53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A61ADC4-28E8-4B8B-9C4D-E018FB66603E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06581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13">
            <a:extLst>
              <a:ext uri="{FF2B5EF4-FFF2-40B4-BE49-F238E27FC236}">
                <a16:creationId xmlns:a16="http://schemas.microsoft.com/office/drawing/2014/main" id="{45238F6A-52C8-974F-B17F-8101295EB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6" name="Pladsholder til tekst 2">
            <a:extLst>
              <a:ext uri="{FF2B5EF4-FFF2-40B4-BE49-F238E27FC236}">
                <a16:creationId xmlns:a16="http://schemas.microsoft.com/office/drawing/2014/main" id="{2FBCC375-06A0-1A46-A8BA-A4A330C79C0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7" name="Pladsholder til tekst 34">
            <a:extLst>
              <a:ext uri="{FF2B5EF4-FFF2-40B4-BE49-F238E27FC236}">
                <a16:creationId xmlns:a16="http://schemas.microsoft.com/office/drawing/2014/main" id="{F6344748-78F9-D346-B4AF-F66AD385E2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8" name="Pladsholder til tekst 35">
            <a:extLst>
              <a:ext uri="{FF2B5EF4-FFF2-40B4-BE49-F238E27FC236}">
                <a16:creationId xmlns:a16="http://schemas.microsoft.com/office/drawing/2014/main" id="{560D483A-14E3-CA46-86FF-27A513D75C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9" name="Pladsholder til tekst 36">
            <a:extLst>
              <a:ext uri="{FF2B5EF4-FFF2-40B4-BE49-F238E27FC236}">
                <a16:creationId xmlns:a16="http://schemas.microsoft.com/office/drawing/2014/main" id="{6FFA87CF-E17F-8649-A4E5-4FADDB768A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0" name="Pladsholder til tekst 37">
            <a:extLst>
              <a:ext uri="{FF2B5EF4-FFF2-40B4-BE49-F238E27FC236}">
                <a16:creationId xmlns:a16="http://schemas.microsoft.com/office/drawing/2014/main" id="{4EDEF28B-09FB-B44D-BAB1-14BBC9151D0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1" name="Pladsholder til tekst 38">
            <a:extLst>
              <a:ext uri="{FF2B5EF4-FFF2-40B4-BE49-F238E27FC236}">
                <a16:creationId xmlns:a16="http://schemas.microsoft.com/office/drawing/2014/main" id="{7386B1AA-3D1F-0A45-99E4-1BBD4AEB3D2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2" name="Pladsholder til tekst 16">
            <a:extLst>
              <a:ext uri="{FF2B5EF4-FFF2-40B4-BE49-F238E27FC236}">
                <a16:creationId xmlns:a16="http://schemas.microsoft.com/office/drawing/2014/main" id="{ED9C6C80-D082-1844-851C-A60A9246DF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:a16="http://schemas.microsoft.com/office/drawing/2014/main" id="{D51F89D8-FCBA-ED4C-ABB1-A79D7D63A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:a16="http://schemas.microsoft.com/office/drawing/2014/main" id="{9E1679A5-05EC-4B48-B561-630C69D382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37" name="Pladsholder til tekst 16">
            <a:extLst>
              <a:ext uri="{FF2B5EF4-FFF2-40B4-BE49-F238E27FC236}">
                <a16:creationId xmlns:a16="http://schemas.microsoft.com/office/drawing/2014/main" id="{25CBDAB3-BDE7-9F4C-90D7-0D7FA6C2C28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38" name="Pladsholder til tekst 16">
            <a:extLst>
              <a:ext uri="{FF2B5EF4-FFF2-40B4-BE49-F238E27FC236}">
                <a16:creationId xmlns:a16="http://schemas.microsoft.com/office/drawing/2014/main" id="{4BC68F5F-AF99-0243-A6EE-C7827B732B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E67990A-461B-4C54-9F5D-034B26FC99A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70FE077D-C80E-413B-9CA3-94D58E37E5B5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110750EC-FB12-4338-8165-3957C95A57D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5F9D406-6221-468E-A82E-C6B1D0EDFE0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70360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CA25681-2B18-9F48-A280-E7FB3C178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DF83AF11-A045-F14C-9497-AD61EDB02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Thank you for listening</a:t>
            </a:r>
          </a:p>
        </p:txBody>
      </p:sp>
      <p:sp>
        <p:nvSpPr>
          <p:cNvPr id="15" name="Pladsholder til tekst 16">
            <a:extLst>
              <a:ext uri="{FF2B5EF4-FFF2-40B4-BE49-F238E27FC236}">
                <a16:creationId xmlns:a16="http://schemas.microsoft.com/office/drawing/2014/main" id="{50AD1671-BAD9-C744-870F-E65FA9FA39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6" name="Pladsholder til billede 2">
            <a:extLst>
              <a:ext uri="{FF2B5EF4-FFF2-40B4-BE49-F238E27FC236}">
                <a16:creationId xmlns:a16="http://schemas.microsoft.com/office/drawing/2014/main" id="{BA1B949A-FA55-DD4A-8DA6-DC9DFDDC62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4AD8FF7-8E23-41B5-8A18-FBCABEAFDF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8AD952C-ABA7-414C-8D3C-648775AA4F7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E480DC06-A033-40DC-AE3E-46000C3D124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A53A72A-EC98-47F2-A77E-FD87F26ADF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479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FCCFA42B-746F-4C2B-9E6B-176CF0F85A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4FBEEC61-1B4D-453A-8AE9-FC68BA672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5" name="Titel 13">
            <a:extLst>
              <a:ext uri="{FF2B5EF4-FFF2-40B4-BE49-F238E27FC236}">
                <a16:creationId xmlns:a16="http://schemas.microsoft.com/office/drawing/2014/main" id="{CBC9DCAF-3182-CC47-8C63-7C9BC3175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for </a:t>
            </a:r>
            <a:r>
              <a:rPr lang="da-DK" dirty="0" err="1"/>
              <a:t>listening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932BAAF-6088-4FB1-8CF0-7C997BB5C47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4E2DB3F-D129-40CA-95EA-E00E3FE3345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Kombinationstegning: figur 4">
            <a:extLst>
              <a:ext uri="{FF2B5EF4-FFF2-40B4-BE49-F238E27FC236}">
                <a16:creationId xmlns:a16="http://schemas.microsoft.com/office/drawing/2014/main" id="{F7E9DE32-19EA-7B11-85B2-BD9E1F2A1EB8}"/>
              </a:ext>
            </a:extLst>
          </p:cNvPr>
          <p:cNvSpPr/>
          <p:nvPr userDrawn="1"/>
        </p:nvSpPr>
        <p:spPr>
          <a:xfrm>
            <a:off x="8021030" y="4760047"/>
            <a:ext cx="878495" cy="98506"/>
          </a:xfrm>
          <a:custGeom>
            <a:avLst/>
            <a:gdLst/>
            <a:ahLst/>
            <a:cxnLst/>
            <a:rect l="l" t="t" r="r" b="b"/>
            <a:pathLst>
              <a:path w="878495" h="98506">
                <a:moveTo>
                  <a:pt x="834237" y="53188"/>
                </a:moveTo>
                <a:cubicBezTo>
                  <a:pt x="831558" y="53188"/>
                  <a:pt x="829214" y="53430"/>
                  <a:pt x="827205" y="53913"/>
                </a:cubicBezTo>
                <a:cubicBezTo>
                  <a:pt x="825196" y="54397"/>
                  <a:pt x="823521" y="55104"/>
                  <a:pt x="822182" y="56034"/>
                </a:cubicBezTo>
                <a:cubicBezTo>
                  <a:pt x="820843" y="56964"/>
                  <a:pt x="819847" y="58081"/>
                  <a:pt x="819196" y="59383"/>
                </a:cubicBezTo>
                <a:cubicBezTo>
                  <a:pt x="818545" y="60685"/>
                  <a:pt x="818219" y="62173"/>
                  <a:pt x="818219" y="63848"/>
                </a:cubicBezTo>
                <a:cubicBezTo>
                  <a:pt x="818219" y="66750"/>
                  <a:pt x="819140" y="69066"/>
                  <a:pt x="820982" y="70796"/>
                </a:cubicBezTo>
                <a:cubicBezTo>
                  <a:pt x="822824" y="72526"/>
                  <a:pt x="825419" y="73391"/>
                  <a:pt x="828768" y="73391"/>
                </a:cubicBezTo>
                <a:cubicBezTo>
                  <a:pt x="831409" y="73391"/>
                  <a:pt x="833874" y="72712"/>
                  <a:pt x="836163" y="71354"/>
                </a:cubicBezTo>
                <a:cubicBezTo>
                  <a:pt x="838451" y="69996"/>
                  <a:pt x="840879" y="67903"/>
                  <a:pt x="843446" y="65076"/>
                </a:cubicBezTo>
                <a:lnTo>
                  <a:pt x="843446" y="53188"/>
                </a:lnTo>
                <a:close/>
                <a:moveTo>
                  <a:pt x="416197" y="30250"/>
                </a:moveTo>
                <a:cubicBezTo>
                  <a:pt x="413184" y="30250"/>
                  <a:pt x="410579" y="30789"/>
                  <a:pt x="408384" y="31868"/>
                </a:cubicBezTo>
                <a:cubicBezTo>
                  <a:pt x="406189" y="32947"/>
                  <a:pt x="404393" y="34445"/>
                  <a:pt x="402998" y="36361"/>
                </a:cubicBezTo>
                <a:cubicBezTo>
                  <a:pt x="401603" y="38277"/>
                  <a:pt x="400571" y="40538"/>
                  <a:pt x="399901" y="43142"/>
                </a:cubicBezTo>
                <a:cubicBezTo>
                  <a:pt x="399231" y="45747"/>
                  <a:pt x="398896" y="48556"/>
                  <a:pt x="398896" y="51569"/>
                </a:cubicBezTo>
                <a:cubicBezTo>
                  <a:pt x="398896" y="54472"/>
                  <a:pt x="399175" y="57234"/>
                  <a:pt x="399733" y="59857"/>
                </a:cubicBezTo>
                <a:cubicBezTo>
                  <a:pt x="400291" y="62480"/>
                  <a:pt x="401222" y="64778"/>
                  <a:pt x="402524" y="66750"/>
                </a:cubicBezTo>
                <a:cubicBezTo>
                  <a:pt x="403826" y="68722"/>
                  <a:pt x="405575" y="70285"/>
                  <a:pt x="407770" y="71438"/>
                </a:cubicBezTo>
                <a:cubicBezTo>
                  <a:pt x="409965" y="72591"/>
                  <a:pt x="412700" y="73168"/>
                  <a:pt x="415974" y="73168"/>
                </a:cubicBezTo>
                <a:cubicBezTo>
                  <a:pt x="418988" y="73168"/>
                  <a:pt x="421592" y="72629"/>
                  <a:pt x="423788" y="71550"/>
                </a:cubicBezTo>
                <a:cubicBezTo>
                  <a:pt x="425983" y="70471"/>
                  <a:pt x="427778" y="68982"/>
                  <a:pt x="429173" y="67085"/>
                </a:cubicBezTo>
                <a:cubicBezTo>
                  <a:pt x="430569" y="65187"/>
                  <a:pt x="431601" y="62936"/>
                  <a:pt x="432271" y="60332"/>
                </a:cubicBezTo>
                <a:cubicBezTo>
                  <a:pt x="432941" y="57727"/>
                  <a:pt x="433275" y="54899"/>
                  <a:pt x="433275" y="51848"/>
                </a:cubicBezTo>
                <a:cubicBezTo>
                  <a:pt x="433275" y="48984"/>
                  <a:pt x="432996" y="46249"/>
                  <a:pt x="432438" y="43644"/>
                </a:cubicBezTo>
                <a:cubicBezTo>
                  <a:pt x="431880" y="41040"/>
                  <a:pt x="430950" y="38742"/>
                  <a:pt x="429648" y="36752"/>
                </a:cubicBezTo>
                <a:cubicBezTo>
                  <a:pt x="428346" y="34761"/>
                  <a:pt x="426597" y="33180"/>
                  <a:pt x="424402" y="32008"/>
                </a:cubicBezTo>
                <a:cubicBezTo>
                  <a:pt x="422206" y="30836"/>
                  <a:pt x="419472" y="30250"/>
                  <a:pt x="416197" y="30250"/>
                </a:cubicBezTo>
                <a:close/>
                <a:moveTo>
                  <a:pt x="653150" y="30138"/>
                </a:moveTo>
                <a:cubicBezTo>
                  <a:pt x="650620" y="30138"/>
                  <a:pt x="648397" y="30613"/>
                  <a:pt x="646481" y="31561"/>
                </a:cubicBezTo>
                <a:cubicBezTo>
                  <a:pt x="644565" y="32510"/>
                  <a:pt x="642946" y="33766"/>
                  <a:pt x="641626" y="35329"/>
                </a:cubicBezTo>
                <a:cubicBezTo>
                  <a:pt x="640305" y="36891"/>
                  <a:pt x="639291" y="38705"/>
                  <a:pt x="638584" y="40770"/>
                </a:cubicBezTo>
                <a:cubicBezTo>
                  <a:pt x="637877" y="42835"/>
                  <a:pt x="637468" y="44984"/>
                  <a:pt x="637356" y="47216"/>
                </a:cubicBezTo>
                <a:lnTo>
                  <a:pt x="668052" y="47216"/>
                </a:lnTo>
                <a:cubicBezTo>
                  <a:pt x="668163" y="41858"/>
                  <a:pt x="666936" y="37673"/>
                  <a:pt x="664368" y="34659"/>
                </a:cubicBezTo>
                <a:cubicBezTo>
                  <a:pt x="661801" y="31645"/>
                  <a:pt x="658062" y="30138"/>
                  <a:pt x="653150" y="30138"/>
                </a:cubicBezTo>
                <a:close/>
                <a:moveTo>
                  <a:pt x="594494" y="30138"/>
                </a:moveTo>
                <a:cubicBezTo>
                  <a:pt x="591926" y="30138"/>
                  <a:pt x="589731" y="30752"/>
                  <a:pt x="587908" y="31980"/>
                </a:cubicBezTo>
                <a:cubicBezTo>
                  <a:pt x="586085" y="33208"/>
                  <a:pt x="584596" y="34826"/>
                  <a:pt x="583443" y="36835"/>
                </a:cubicBezTo>
                <a:cubicBezTo>
                  <a:pt x="582290" y="38845"/>
                  <a:pt x="581452" y="41114"/>
                  <a:pt x="580932" y="43644"/>
                </a:cubicBezTo>
                <a:cubicBezTo>
                  <a:pt x="580411" y="46174"/>
                  <a:pt x="580150" y="48742"/>
                  <a:pt x="580150" y="51346"/>
                </a:cubicBezTo>
                <a:cubicBezTo>
                  <a:pt x="580150" y="54137"/>
                  <a:pt x="580373" y="56853"/>
                  <a:pt x="580820" y="59495"/>
                </a:cubicBezTo>
                <a:cubicBezTo>
                  <a:pt x="581266" y="62136"/>
                  <a:pt x="582029" y="64490"/>
                  <a:pt x="583108" y="66555"/>
                </a:cubicBezTo>
                <a:cubicBezTo>
                  <a:pt x="584187" y="68620"/>
                  <a:pt x="585620" y="70275"/>
                  <a:pt x="587406" y="71522"/>
                </a:cubicBezTo>
                <a:cubicBezTo>
                  <a:pt x="589191" y="72768"/>
                  <a:pt x="591424" y="73391"/>
                  <a:pt x="594103" y="73391"/>
                </a:cubicBezTo>
                <a:cubicBezTo>
                  <a:pt x="595442" y="73391"/>
                  <a:pt x="596745" y="73205"/>
                  <a:pt x="598010" y="72833"/>
                </a:cubicBezTo>
                <a:cubicBezTo>
                  <a:pt x="599275" y="72461"/>
                  <a:pt x="600577" y="71847"/>
                  <a:pt x="601916" y="70991"/>
                </a:cubicBezTo>
                <a:cubicBezTo>
                  <a:pt x="603256" y="70136"/>
                  <a:pt x="604642" y="69029"/>
                  <a:pt x="606074" y="67671"/>
                </a:cubicBezTo>
                <a:cubicBezTo>
                  <a:pt x="607507" y="66313"/>
                  <a:pt x="609041" y="64629"/>
                  <a:pt x="610679" y="62620"/>
                </a:cubicBezTo>
                <a:lnTo>
                  <a:pt x="610679" y="40575"/>
                </a:lnTo>
                <a:cubicBezTo>
                  <a:pt x="607888" y="37189"/>
                  <a:pt x="605200" y="34603"/>
                  <a:pt x="602614" y="32817"/>
                </a:cubicBezTo>
                <a:cubicBezTo>
                  <a:pt x="600028" y="31031"/>
                  <a:pt x="597321" y="30138"/>
                  <a:pt x="594494" y="30138"/>
                </a:cubicBezTo>
                <a:close/>
                <a:moveTo>
                  <a:pt x="789421" y="25059"/>
                </a:moveTo>
                <a:cubicBezTo>
                  <a:pt x="790091" y="25059"/>
                  <a:pt x="790640" y="25087"/>
                  <a:pt x="791068" y="25143"/>
                </a:cubicBezTo>
                <a:cubicBezTo>
                  <a:pt x="791495" y="25199"/>
                  <a:pt x="791830" y="25292"/>
                  <a:pt x="792072" y="25422"/>
                </a:cubicBezTo>
                <a:cubicBezTo>
                  <a:pt x="792314" y="25552"/>
                  <a:pt x="792491" y="25711"/>
                  <a:pt x="792602" y="25897"/>
                </a:cubicBezTo>
                <a:cubicBezTo>
                  <a:pt x="792714" y="26083"/>
                  <a:pt x="792770" y="26287"/>
                  <a:pt x="792770" y="26510"/>
                </a:cubicBezTo>
                <a:lnTo>
                  <a:pt x="792770" y="77019"/>
                </a:lnTo>
                <a:cubicBezTo>
                  <a:pt x="792770" y="77242"/>
                  <a:pt x="792714" y="77447"/>
                  <a:pt x="792602" y="77633"/>
                </a:cubicBezTo>
                <a:cubicBezTo>
                  <a:pt x="792491" y="77819"/>
                  <a:pt x="792314" y="77968"/>
                  <a:pt x="792072" y="78079"/>
                </a:cubicBezTo>
                <a:cubicBezTo>
                  <a:pt x="791830" y="78191"/>
                  <a:pt x="791495" y="78284"/>
                  <a:pt x="791068" y="78358"/>
                </a:cubicBezTo>
                <a:cubicBezTo>
                  <a:pt x="790640" y="78433"/>
                  <a:pt x="790091" y="78470"/>
                  <a:pt x="789421" y="78470"/>
                </a:cubicBezTo>
                <a:cubicBezTo>
                  <a:pt x="788789" y="78470"/>
                  <a:pt x="788258" y="78433"/>
                  <a:pt x="787831" y="78358"/>
                </a:cubicBezTo>
                <a:cubicBezTo>
                  <a:pt x="787403" y="78284"/>
                  <a:pt x="787059" y="78191"/>
                  <a:pt x="786798" y="78079"/>
                </a:cubicBezTo>
                <a:cubicBezTo>
                  <a:pt x="786538" y="77968"/>
                  <a:pt x="786361" y="77819"/>
                  <a:pt x="786268" y="77633"/>
                </a:cubicBezTo>
                <a:cubicBezTo>
                  <a:pt x="786175" y="77447"/>
                  <a:pt x="786128" y="77242"/>
                  <a:pt x="786128" y="77019"/>
                </a:cubicBezTo>
                <a:lnTo>
                  <a:pt x="786128" y="26510"/>
                </a:lnTo>
                <a:cubicBezTo>
                  <a:pt x="786128" y="26287"/>
                  <a:pt x="786175" y="26083"/>
                  <a:pt x="786268" y="25897"/>
                </a:cubicBezTo>
                <a:cubicBezTo>
                  <a:pt x="786361" y="25711"/>
                  <a:pt x="786538" y="25552"/>
                  <a:pt x="786798" y="25422"/>
                </a:cubicBezTo>
                <a:cubicBezTo>
                  <a:pt x="787059" y="25292"/>
                  <a:pt x="787403" y="25199"/>
                  <a:pt x="787831" y="25143"/>
                </a:cubicBezTo>
                <a:cubicBezTo>
                  <a:pt x="788258" y="25087"/>
                  <a:pt x="788789" y="25059"/>
                  <a:pt x="789421" y="25059"/>
                </a:cubicBezTo>
                <a:close/>
                <a:moveTo>
                  <a:pt x="551296" y="25059"/>
                </a:moveTo>
                <a:cubicBezTo>
                  <a:pt x="551966" y="25059"/>
                  <a:pt x="552515" y="25087"/>
                  <a:pt x="552943" y="25143"/>
                </a:cubicBezTo>
                <a:cubicBezTo>
                  <a:pt x="553370" y="25199"/>
                  <a:pt x="553705" y="25292"/>
                  <a:pt x="553947" y="25422"/>
                </a:cubicBezTo>
                <a:cubicBezTo>
                  <a:pt x="554189" y="25552"/>
                  <a:pt x="554366" y="25711"/>
                  <a:pt x="554477" y="25897"/>
                </a:cubicBezTo>
                <a:cubicBezTo>
                  <a:pt x="554589" y="26083"/>
                  <a:pt x="554645" y="26287"/>
                  <a:pt x="554645" y="26510"/>
                </a:cubicBezTo>
                <a:lnTo>
                  <a:pt x="554645" y="77019"/>
                </a:lnTo>
                <a:cubicBezTo>
                  <a:pt x="554645" y="77242"/>
                  <a:pt x="554589" y="77447"/>
                  <a:pt x="554477" y="77633"/>
                </a:cubicBezTo>
                <a:cubicBezTo>
                  <a:pt x="554366" y="77819"/>
                  <a:pt x="554189" y="77968"/>
                  <a:pt x="553947" y="78079"/>
                </a:cubicBezTo>
                <a:cubicBezTo>
                  <a:pt x="553705" y="78191"/>
                  <a:pt x="553370" y="78284"/>
                  <a:pt x="552943" y="78358"/>
                </a:cubicBezTo>
                <a:cubicBezTo>
                  <a:pt x="552515" y="78433"/>
                  <a:pt x="551966" y="78470"/>
                  <a:pt x="551296" y="78470"/>
                </a:cubicBezTo>
                <a:cubicBezTo>
                  <a:pt x="550664" y="78470"/>
                  <a:pt x="550133" y="78433"/>
                  <a:pt x="549706" y="78358"/>
                </a:cubicBezTo>
                <a:cubicBezTo>
                  <a:pt x="549278" y="78284"/>
                  <a:pt x="548933" y="78191"/>
                  <a:pt x="548673" y="78079"/>
                </a:cubicBezTo>
                <a:cubicBezTo>
                  <a:pt x="548413" y="77968"/>
                  <a:pt x="548236" y="77819"/>
                  <a:pt x="548143" y="77633"/>
                </a:cubicBezTo>
                <a:cubicBezTo>
                  <a:pt x="548050" y="77447"/>
                  <a:pt x="548003" y="77242"/>
                  <a:pt x="548003" y="77019"/>
                </a:cubicBezTo>
                <a:lnTo>
                  <a:pt x="548003" y="26510"/>
                </a:lnTo>
                <a:cubicBezTo>
                  <a:pt x="548003" y="26287"/>
                  <a:pt x="548050" y="26083"/>
                  <a:pt x="548143" y="25897"/>
                </a:cubicBezTo>
                <a:cubicBezTo>
                  <a:pt x="548236" y="25711"/>
                  <a:pt x="548413" y="25552"/>
                  <a:pt x="548673" y="25422"/>
                </a:cubicBezTo>
                <a:cubicBezTo>
                  <a:pt x="548933" y="25292"/>
                  <a:pt x="549278" y="25199"/>
                  <a:pt x="549706" y="25143"/>
                </a:cubicBezTo>
                <a:cubicBezTo>
                  <a:pt x="550133" y="25087"/>
                  <a:pt x="550664" y="25059"/>
                  <a:pt x="551296" y="25059"/>
                </a:cubicBezTo>
                <a:close/>
                <a:moveTo>
                  <a:pt x="267928" y="25059"/>
                </a:moveTo>
                <a:cubicBezTo>
                  <a:pt x="268746" y="25059"/>
                  <a:pt x="269397" y="25087"/>
                  <a:pt x="269881" y="25143"/>
                </a:cubicBezTo>
                <a:cubicBezTo>
                  <a:pt x="270365" y="25199"/>
                  <a:pt x="270746" y="25283"/>
                  <a:pt x="271025" y="25394"/>
                </a:cubicBezTo>
                <a:cubicBezTo>
                  <a:pt x="271304" y="25506"/>
                  <a:pt x="271509" y="25655"/>
                  <a:pt x="271639" y="25841"/>
                </a:cubicBezTo>
                <a:cubicBezTo>
                  <a:pt x="271769" y="26027"/>
                  <a:pt x="271890" y="26250"/>
                  <a:pt x="272002" y="26510"/>
                </a:cubicBezTo>
                <a:lnTo>
                  <a:pt x="287796" y="70601"/>
                </a:lnTo>
                <a:lnTo>
                  <a:pt x="288019" y="70601"/>
                </a:lnTo>
                <a:lnTo>
                  <a:pt x="303535" y="26510"/>
                </a:lnTo>
                <a:cubicBezTo>
                  <a:pt x="303721" y="25990"/>
                  <a:pt x="303972" y="25645"/>
                  <a:pt x="304288" y="25478"/>
                </a:cubicBezTo>
                <a:cubicBezTo>
                  <a:pt x="304604" y="25311"/>
                  <a:pt x="305023" y="25199"/>
                  <a:pt x="305544" y="25143"/>
                </a:cubicBezTo>
                <a:cubicBezTo>
                  <a:pt x="306065" y="25087"/>
                  <a:pt x="306697" y="25059"/>
                  <a:pt x="307442" y="25059"/>
                </a:cubicBezTo>
                <a:cubicBezTo>
                  <a:pt x="308148" y="25059"/>
                  <a:pt x="308734" y="25097"/>
                  <a:pt x="309200" y="25171"/>
                </a:cubicBezTo>
                <a:cubicBezTo>
                  <a:pt x="309665" y="25245"/>
                  <a:pt x="310009" y="25376"/>
                  <a:pt x="310232" y="25562"/>
                </a:cubicBezTo>
                <a:cubicBezTo>
                  <a:pt x="310455" y="25748"/>
                  <a:pt x="310567" y="25999"/>
                  <a:pt x="310567" y="26315"/>
                </a:cubicBezTo>
                <a:cubicBezTo>
                  <a:pt x="310567" y="26631"/>
                  <a:pt x="310474" y="27031"/>
                  <a:pt x="310288" y="27515"/>
                </a:cubicBezTo>
                <a:lnTo>
                  <a:pt x="291424" y="78135"/>
                </a:lnTo>
                <a:lnTo>
                  <a:pt x="284392" y="97055"/>
                </a:lnTo>
                <a:cubicBezTo>
                  <a:pt x="284206" y="97464"/>
                  <a:pt x="283815" y="97808"/>
                  <a:pt x="283220" y="98088"/>
                </a:cubicBezTo>
                <a:cubicBezTo>
                  <a:pt x="282624" y="98367"/>
                  <a:pt x="281676" y="98506"/>
                  <a:pt x="280373" y="98506"/>
                </a:cubicBezTo>
                <a:cubicBezTo>
                  <a:pt x="279704" y="98506"/>
                  <a:pt x="279146" y="98469"/>
                  <a:pt x="278699" y="98394"/>
                </a:cubicBezTo>
                <a:cubicBezTo>
                  <a:pt x="278253" y="98320"/>
                  <a:pt x="277908" y="98181"/>
                  <a:pt x="277667" y="97976"/>
                </a:cubicBezTo>
                <a:cubicBezTo>
                  <a:pt x="277425" y="97771"/>
                  <a:pt x="277285" y="97511"/>
                  <a:pt x="277248" y="97195"/>
                </a:cubicBezTo>
                <a:cubicBezTo>
                  <a:pt x="277211" y="96878"/>
                  <a:pt x="277285" y="96497"/>
                  <a:pt x="277471" y="96050"/>
                </a:cubicBezTo>
                <a:lnTo>
                  <a:pt x="284615" y="78135"/>
                </a:lnTo>
                <a:cubicBezTo>
                  <a:pt x="284317" y="78024"/>
                  <a:pt x="284057" y="77838"/>
                  <a:pt x="283834" y="77577"/>
                </a:cubicBezTo>
                <a:cubicBezTo>
                  <a:pt x="283610" y="77317"/>
                  <a:pt x="283462" y="77056"/>
                  <a:pt x="283387" y="76796"/>
                </a:cubicBezTo>
                <a:lnTo>
                  <a:pt x="265026" y="27515"/>
                </a:lnTo>
                <a:cubicBezTo>
                  <a:pt x="264840" y="26994"/>
                  <a:pt x="264746" y="26576"/>
                  <a:pt x="264746" y="26259"/>
                </a:cubicBezTo>
                <a:cubicBezTo>
                  <a:pt x="264746" y="25943"/>
                  <a:pt x="264849" y="25692"/>
                  <a:pt x="265053" y="25506"/>
                </a:cubicBezTo>
                <a:cubicBezTo>
                  <a:pt x="265258" y="25320"/>
                  <a:pt x="265593" y="25199"/>
                  <a:pt x="266058" y="25143"/>
                </a:cubicBezTo>
                <a:cubicBezTo>
                  <a:pt x="266523" y="25087"/>
                  <a:pt x="267146" y="25059"/>
                  <a:pt x="267928" y="25059"/>
                </a:cubicBezTo>
                <a:close/>
                <a:moveTo>
                  <a:pt x="132196" y="25059"/>
                </a:moveTo>
                <a:cubicBezTo>
                  <a:pt x="132866" y="25059"/>
                  <a:pt x="133415" y="25087"/>
                  <a:pt x="133843" y="25143"/>
                </a:cubicBezTo>
                <a:cubicBezTo>
                  <a:pt x="134271" y="25199"/>
                  <a:pt x="134606" y="25292"/>
                  <a:pt x="134847" y="25422"/>
                </a:cubicBezTo>
                <a:cubicBezTo>
                  <a:pt x="135089" y="25552"/>
                  <a:pt x="135266" y="25711"/>
                  <a:pt x="135378" y="25897"/>
                </a:cubicBezTo>
                <a:cubicBezTo>
                  <a:pt x="135489" y="26083"/>
                  <a:pt x="135545" y="26287"/>
                  <a:pt x="135545" y="26510"/>
                </a:cubicBezTo>
                <a:lnTo>
                  <a:pt x="135545" y="77019"/>
                </a:lnTo>
                <a:cubicBezTo>
                  <a:pt x="135545" y="77242"/>
                  <a:pt x="135489" y="77447"/>
                  <a:pt x="135378" y="77633"/>
                </a:cubicBezTo>
                <a:cubicBezTo>
                  <a:pt x="135266" y="77819"/>
                  <a:pt x="135089" y="77968"/>
                  <a:pt x="134847" y="78079"/>
                </a:cubicBezTo>
                <a:cubicBezTo>
                  <a:pt x="134606" y="78191"/>
                  <a:pt x="134271" y="78284"/>
                  <a:pt x="133843" y="78358"/>
                </a:cubicBezTo>
                <a:cubicBezTo>
                  <a:pt x="133415" y="78433"/>
                  <a:pt x="132866" y="78470"/>
                  <a:pt x="132196" y="78470"/>
                </a:cubicBezTo>
                <a:cubicBezTo>
                  <a:pt x="131564" y="78470"/>
                  <a:pt x="131034" y="78433"/>
                  <a:pt x="130606" y="78358"/>
                </a:cubicBezTo>
                <a:cubicBezTo>
                  <a:pt x="130178" y="78284"/>
                  <a:pt x="129834" y="78191"/>
                  <a:pt x="129573" y="78079"/>
                </a:cubicBezTo>
                <a:cubicBezTo>
                  <a:pt x="129313" y="77968"/>
                  <a:pt x="129136" y="77819"/>
                  <a:pt x="129043" y="77633"/>
                </a:cubicBezTo>
                <a:cubicBezTo>
                  <a:pt x="128950" y="77447"/>
                  <a:pt x="128904" y="77242"/>
                  <a:pt x="128904" y="77019"/>
                </a:cubicBezTo>
                <a:lnTo>
                  <a:pt x="128904" y="26510"/>
                </a:lnTo>
                <a:cubicBezTo>
                  <a:pt x="128904" y="26287"/>
                  <a:pt x="128950" y="26083"/>
                  <a:pt x="129043" y="25897"/>
                </a:cubicBezTo>
                <a:cubicBezTo>
                  <a:pt x="129136" y="25711"/>
                  <a:pt x="129313" y="25552"/>
                  <a:pt x="129573" y="25422"/>
                </a:cubicBezTo>
                <a:cubicBezTo>
                  <a:pt x="129834" y="25292"/>
                  <a:pt x="130178" y="25199"/>
                  <a:pt x="130606" y="25143"/>
                </a:cubicBezTo>
                <a:cubicBezTo>
                  <a:pt x="131034" y="25087"/>
                  <a:pt x="131564" y="25059"/>
                  <a:pt x="132196" y="25059"/>
                </a:cubicBezTo>
                <a:close/>
                <a:moveTo>
                  <a:pt x="831447" y="24446"/>
                </a:moveTo>
                <a:cubicBezTo>
                  <a:pt x="834907" y="24446"/>
                  <a:pt x="837827" y="24864"/>
                  <a:pt x="840209" y="25701"/>
                </a:cubicBezTo>
                <a:cubicBezTo>
                  <a:pt x="842590" y="26538"/>
                  <a:pt x="844515" y="27738"/>
                  <a:pt x="845985" y="29301"/>
                </a:cubicBezTo>
                <a:cubicBezTo>
                  <a:pt x="847455" y="30864"/>
                  <a:pt x="848506" y="32789"/>
                  <a:pt x="849138" y="35077"/>
                </a:cubicBezTo>
                <a:cubicBezTo>
                  <a:pt x="849771" y="37366"/>
                  <a:pt x="850087" y="39961"/>
                  <a:pt x="850087" y="42863"/>
                </a:cubicBezTo>
                <a:lnTo>
                  <a:pt x="850087" y="77019"/>
                </a:lnTo>
                <a:cubicBezTo>
                  <a:pt x="850087" y="77391"/>
                  <a:pt x="849966" y="77679"/>
                  <a:pt x="849724" y="77884"/>
                </a:cubicBezTo>
                <a:cubicBezTo>
                  <a:pt x="849483" y="78089"/>
                  <a:pt x="849166" y="78238"/>
                  <a:pt x="848776" y="78331"/>
                </a:cubicBezTo>
                <a:cubicBezTo>
                  <a:pt x="848385" y="78424"/>
                  <a:pt x="847855" y="78470"/>
                  <a:pt x="847185" y="78470"/>
                </a:cubicBezTo>
                <a:cubicBezTo>
                  <a:pt x="846553" y="78470"/>
                  <a:pt x="846013" y="78424"/>
                  <a:pt x="845567" y="78331"/>
                </a:cubicBezTo>
                <a:cubicBezTo>
                  <a:pt x="845120" y="78238"/>
                  <a:pt x="844776" y="78089"/>
                  <a:pt x="844534" y="77884"/>
                </a:cubicBezTo>
                <a:cubicBezTo>
                  <a:pt x="844292" y="77679"/>
                  <a:pt x="844171" y="77391"/>
                  <a:pt x="844171" y="77019"/>
                </a:cubicBezTo>
                <a:lnTo>
                  <a:pt x="844171" y="71382"/>
                </a:lnTo>
                <a:cubicBezTo>
                  <a:pt x="841902" y="73838"/>
                  <a:pt x="839399" y="75735"/>
                  <a:pt x="836665" y="77075"/>
                </a:cubicBezTo>
                <a:cubicBezTo>
                  <a:pt x="833930" y="78414"/>
                  <a:pt x="831093" y="79084"/>
                  <a:pt x="828154" y="79084"/>
                </a:cubicBezTo>
                <a:cubicBezTo>
                  <a:pt x="825512" y="79084"/>
                  <a:pt x="823140" y="78740"/>
                  <a:pt x="821038" y="78052"/>
                </a:cubicBezTo>
                <a:cubicBezTo>
                  <a:pt x="818936" y="77363"/>
                  <a:pt x="817159" y="76377"/>
                  <a:pt x="815708" y="75094"/>
                </a:cubicBezTo>
                <a:cubicBezTo>
                  <a:pt x="814257" y="73810"/>
                  <a:pt x="813141" y="72257"/>
                  <a:pt x="812359" y="70433"/>
                </a:cubicBezTo>
                <a:cubicBezTo>
                  <a:pt x="811578" y="68610"/>
                  <a:pt x="811187" y="66564"/>
                  <a:pt x="811187" y="64294"/>
                </a:cubicBezTo>
                <a:cubicBezTo>
                  <a:pt x="811187" y="61504"/>
                  <a:pt x="811764" y="59076"/>
                  <a:pt x="812917" y="57011"/>
                </a:cubicBezTo>
                <a:cubicBezTo>
                  <a:pt x="814071" y="54946"/>
                  <a:pt x="815708" y="53225"/>
                  <a:pt x="817829" y="51848"/>
                </a:cubicBezTo>
                <a:cubicBezTo>
                  <a:pt x="819950" y="50472"/>
                  <a:pt x="822498" y="49439"/>
                  <a:pt x="825475" y="48751"/>
                </a:cubicBezTo>
                <a:cubicBezTo>
                  <a:pt x="828451" y="48063"/>
                  <a:pt x="831763" y="47718"/>
                  <a:pt x="835409" y="47718"/>
                </a:cubicBezTo>
                <a:lnTo>
                  <a:pt x="843446" y="47718"/>
                </a:lnTo>
                <a:lnTo>
                  <a:pt x="843446" y="43365"/>
                </a:lnTo>
                <a:cubicBezTo>
                  <a:pt x="843446" y="41207"/>
                  <a:pt x="843223" y="39300"/>
                  <a:pt x="842776" y="37645"/>
                </a:cubicBezTo>
                <a:cubicBezTo>
                  <a:pt x="842330" y="35989"/>
                  <a:pt x="841604" y="34603"/>
                  <a:pt x="840599" y="33487"/>
                </a:cubicBezTo>
                <a:cubicBezTo>
                  <a:pt x="839595" y="32371"/>
                  <a:pt x="838293" y="31533"/>
                  <a:pt x="836693" y="30975"/>
                </a:cubicBezTo>
                <a:cubicBezTo>
                  <a:pt x="835093" y="30417"/>
                  <a:pt x="833139" y="30138"/>
                  <a:pt x="830833" y="30138"/>
                </a:cubicBezTo>
                <a:cubicBezTo>
                  <a:pt x="828600" y="30138"/>
                  <a:pt x="826591" y="30408"/>
                  <a:pt x="824805" y="30947"/>
                </a:cubicBezTo>
                <a:cubicBezTo>
                  <a:pt x="823019" y="31487"/>
                  <a:pt x="821456" y="32092"/>
                  <a:pt x="820117" y="32761"/>
                </a:cubicBezTo>
                <a:cubicBezTo>
                  <a:pt x="818777" y="33431"/>
                  <a:pt x="817671" y="34036"/>
                  <a:pt x="816796" y="34575"/>
                </a:cubicBezTo>
                <a:cubicBezTo>
                  <a:pt x="815922" y="35115"/>
                  <a:pt x="815299" y="35384"/>
                  <a:pt x="814927" y="35384"/>
                </a:cubicBezTo>
                <a:cubicBezTo>
                  <a:pt x="814703" y="35384"/>
                  <a:pt x="814499" y="35347"/>
                  <a:pt x="814313" y="35273"/>
                </a:cubicBezTo>
                <a:cubicBezTo>
                  <a:pt x="814127" y="35198"/>
                  <a:pt x="813969" y="35059"/>
                  <a:pt x="813838" y="34854"/>
                </a:cubicBezTo>
                <a:cubicBezTo>
                  <a:pt x="813708" y="34650"/>
                  <a:pt x="813615" y="34389"/>
                  <a:pt x="813559" y="34073"/>
                </a:cubicBezTo>
                <a:cubicBezTo>
                  <a:pt x="813503" y="33757"/>
                  <a:pt x="813475" y="33375"/>
                  <a:pt x="813475" y="32929"/>
                </a:cubicBezTo>
                <a:cubicBezTo>
                  <a:pt x="813475" y="32147"/>
                  <a:pt x="813531" y="31524"/>
                  <a:pt x="813643" y="31059"/>
                </a:cubicBezTo>
                <a:cubicBezTo>
                  <a:pt x="813755" y="30594"/>
                  <a:pt x="814043" y="30129"/>
                  <a:pt x="814508" y="29664"/>
                </a:cubicBezTo>
                <a:cubicBezTo>
                  <a:pt x="814973" y="29199"/>
                  <a:pt x="815801" y="28650"/>
                  <a:pt x="816992" y="28017"/>
                </a:cubicBezTo>
                <a:cubicBezTo>
                  <a:pt x="818182" y="27385"/>
                  <a:pt x="819550" y="26799"/>
                  <a:pt x="821094" y="26259"/>
                </a:cubicBezTo>
                <a:cubicBezTo>
                  <a:pt x="822638" y="25720"/>
                  <a:pt x="824303" y="25283"/>
                  <a:pt x="826089" y="24948"/>
                </a:cubicBezTo>
                <a:cubicBezTo>
                  <a:pt x="827875" y="24613"/>
                  <a:pt x="829661" y="24446"/>
                  <a:pt x="831447" y="24446"/>
                </a:cubicBezTo>
                <a:close/>
                <a:moveTo>
                  <a:pt x="714040" y="24446"/>
                </a:moveTo>
                <a:cubicBezTo>
                  <a:pt x="717351" y="24446"/>
                  <a:pt x="720142" y="25004"/>
                  <a:pt x="722411" y="26120"/>
                </a:cubicBezTo>
                <a:cubicBezTo>
                  <a:pt x="724681" y="27236"/>
                  <a:pt x="726513" y="28743"/>
                  <a:pt x="727909" y="30640"/>
                </a:cubicBezTo>
                <a:cubicBezTo>
                  <a:pt x="729304" y="32538"/>
                  <a:pt x="730309" y="34752"/>
                  <a:pt x="730922" y="37282"/>
                </a:cubicBezTo>
                <a:cubicBezTo>
                  <a:pt x="731536" y="39812"/>
                  <a:pt x="731843" y="42863"/>
                  <a:pt x="731843" y="46435"/>
                </a:cubicBezTo>
                <a:lnTo>
                  <a:pt x="731843" y="77019"/>
                </a:lnTo>
                <a:cubicBezTo>
                  <a:pt x="731843" y="77242"/>
                  <a:pt x="731787" y="77447"/>
                  <a:pt x="731676" y="77633"/>
                </a:cubicBezTo>
                <a:cubicBezTo>
                  <a:pt x="731564" y="77819"/>
                  <a:pt x="731387" y="77968"/>
                  <a:pt x="731146" y="78079"/>
                </a:cubicBezTo>
                <a:cubicBezTo>
                  <a:pt x="730904" y="78191"/>
                  <a:pt x="730569" y="78284"/>
                  <a:pt x="730141" y="78358"/>
                </a:cubicBezTo>
                <a:cubicBezTo>
                  <a:pt x="729713" y="78433"/>
                  <a:pt x="729183" y="78470"/>
                  <a:pt x="728550" y="78470"/>
                </a:cubicBezTo>
                <a:cubicBezTo>
                  <a:pt x="727881" y="78470"/>
                  <a:pt x="727332" y="78433"/>
                  <a:pt x="726904" y="78358"/>
                </a:cubicBezTo>
                <a:cubicBezTo>
                  <a:pt x="726476" y="78284"/>
                  <a:pt x="726141" y="78191"/>
                  <a:pt x="725899" y="78079"/>
                </a:cubicBezTo>
                <a:cubicBezTo>
                  <a:pt x="725658" y="77968"/>
                  <a:pt x="725481" y="77819"/>
                  <a:pt x="725369" y="77633"/>
                </a:cubicBezTo>
                <a:cubicBezTo>
                  <a:pt x="725258" y="77447"/>
                  <a:pt x="725202" y="77242"/>
                  <a:pt x="725202" y="77019"/>
                </a:cubicBezTo>
                <a:lnTo>
                  <a:pt x="725202" y="47049"/>
                </a:lnTo>
                <a:cubicBezTo>
                  <a:pt x="725202" y="43923"/>
                  <a:pt x="724960" y="41384"/>
                  <a:pt x="724476" y="39431"/>
                </a:cubicBezTo>
                <a:cubicBezTo>
                  <a:pt x="723993" y="37477"/>
                  <a:pt x="723267" y="35803"/>
                  <a:pt x="722300" y="34408"/>
                </a:cubicBezTo>
                <a:cubicBezTo>
                  <a:pt x="721332" y="33012"/>
                  <a:pt x="720095" y="31933"/>
                  <a:pt x="718588" y="31171"/>
                </a:cubicBezTo>
                <a:cubicBezTo>
                  <a:pt x="717081" y="30408"/>
                  <a:pt x="715323" y="30027"/>
                  <a:pt x="713314" y="30027"/>
                </a:cubicBezTo>
                <a:cubicBezTo>
                  <a:pt x="710747" y="30027"/>
                  <a:pt x="708180" y="30938"/>
                  <a:pt x="705612" y="32761"/>
                </a:cubicBezTo>
                <a:cubicBezTo>
                  <a:pt x="703045" y="34584"/>
                  <a:pt x="700348" y="37263"/>
                  <a:pt x="697520" y="40798"/>
                </a:cubicBezTo>
                <a:lnTo>
                  <a:pt x="697520" y="77019"/>
                </a:lnTo>
                <a:cubicBezTo>
                  <a:pt x="697520" y="77242"/>
                  <a:pt x="697464" y="77447"/>
                  <a:pt x="697352" y="77633"/>
                </a:cubicBezTo>
                <a:cubicBezTo>
                  <a:pt x="697241" y="77819"/>
                  <a:pt x="697064" y="77968"/>
                  <a:pt x="696822" y="78079"/>
                </a:cubicBezTo>
                <a:cubicBezTo>
                  <a:pt x="696580" y="78191"/>
                  <a:pt x="696245" y="78284"/>
                  <a:pt x="695818" y="78358"/>
                </a:cubicBezTo>
                <a:cubicBezTo>
                  <a:pt x="695390" y="78433"/>
                  <a:pt x="694841" y="78470"/>
                  <a:pt x="694171" y="78470"/>
                </a:cubicBezTo>
                <a:cubicBezTo>
                  <a:pt x="693539" y="78470"/>
                  <a:pt x="693008" y="78433"/>
                  <a:pt x="692581" y="78358"/>
                </a:cubicBezTo>
                <a:cubicBezTo>
                  <a:pt x="692153" y="78284"/>
                  <a:pt x="691809" y="78191"/>
                  <a:pt x="691548" y="78079"/>
                </a:cubicBezTo>
                <a:cubicBezTo>
                  <a:pt x="691288" y="77968"/>
                  <a:pt x="691111" y="77819"/>
                  <a:pt x="691018" y="77633"/>
                </a:cubicBezTo>
                <a:cubicBezTo>
                  <a:pt x="690925" y="77447"/>
                  <a:pt x="690878" y="77242"/>
                  <a:pt x="690878" y="77019"/>
                </a:cubicBezTo>
                <a:lnTo>
                  <a:pt x="690878" y="26510"/>
                </a:lnTo>
                <a:cubicBezTo>
                  <a:pt x="690878" y="26287"/>
                  <a:pt x="690925" y="26083"/>
                  <a:pt x="691018" y="25897"/>
                </a:cubicBezTo>
                <a:cubicBezTo>
                  <a:pt x="691111" y="25711"/>
                  <a:pt x="691288" y="25552"/>
                  <a:pt x="691548" y="25422"/>
                </a:cubicBezTo>
                <a:cubicBezTo>
                  <a:pt x="691809" y="25292"/>
                  <a:pt x="692134" y="25199"/>
                  <a:pt x="692525" y="25143"/>
                </a:cubicBezTo>
                <a:cubicBezTo>
                  <a:pt x="692915" y="25087"/>
                  <a:pt x="693427" y="25059"/>
                  <a:pt x="694060" y="25059"/>
                </a:cubicBezTo>
                <a:cubicBezTo>
                  <a:pt x="694692" y="25059"/>
                  <a:pt x="695213" y="25087"/>
                  <a:pt x="695622" y="25143"/>
                </a:cubicBezTo>
                <a:cubicBezTo>
                  <a:pt x="696031" y="25199"/>
                  <a:pt x="696348" y="25292"/>
                  <a:pt x="696571" y="25422"/>
                </a:cubicBezTo>
                <a:cubicBezTo>
                  <a:pt x="696794" y="25552"/>
                  <a:pt x="696952" y="25711"/>
                  <a:pt x="697045" y="25897"/>
                </a:cubicBezTo>
                <a:cubicBezTo>
                  <a:pt x="697138" y="26083"/>
                  <a:pt x="697185" y="26287"/>
                  <a:pt x="697185" y="26510"/>
                </a:cubicBezTo>
                <a:lnTo>
                  <a:pt x="697185" y="33654"/>
                </a:lnTo>
                <a:cubicBezTo>
                  <a:pt x="700087" y="30417"/>
                  <a:pt x="702933" y="28073"/>
                  <a:pt x="705724" y="26622"/>
                </a:cubicBezTo>
                <a:cubicBezTo>
                  <a:pt x="708515" y="25171"/>
                  <a:pt x="711286" y="24446"/>
                  <a:pt x="714040" y="24446"/>
                </a:cubicBezTo>
                <a:close/>
                <a:moveTo>
                  <a:pt x="653597" y="24446"/>
                </a:moveTo>
                <a:cubicBezTo>
                  <a:pt x="657392" y="24446"/>
                  <a:pt x="660629" y="25078"/>
                  <a:pt x="663308" y="26343"/>
                </a:cubicBezTo>
                <a:cubicBezTo>
                  <a:pt x="665987" y="27608"/>
                  <a:pt x="668191" y="29310"/>
                  <a:pt x="669921" y="31450"/>
                </a:cubicBezTo>
                <a:cubicBezTo>
                  <a:pt x="671652" y="33589"/>
                  <a:pt x="672917" y="36073"/>
                  <a:pt x="673717" y="38900"/>
                </a:cubicBezTo>
                <a:cubicBezTo>
                  <a:pt x="674517" y="41728"/>
                  <a:pt x="674917" y="44705"/>
                  <a:pt x="674917" y="47830"/>
                </a:cubicBezTo>
                <a:lnTo>
                  <a:pt x="674917" y="49170"/>
                </a:lnTo>
                <a:cubicBezTo>
                  <a:pt x="674917" y="50509"/>
                  <a:pt x="674563" y="51430"/>
                  <a:pt x="673856" y="51932"/>
                </a:cubicBezTo>
                <a:cubicBezTo>
                  <a:pt x="673149" y="52434"/>
                  <a:pt x="672461" y="52686"/>
                  <a:pt x="671791" y="52686"/>
                </a:cubicBezTo>
                <a:lnTo>
                  <a:pt x="637356" y="52686"/>
                </a:lnTo>
                <a:cubicBezTo>
                  <a:pt x="637356" y="55811"/>
                  <a:pt x="637663" y="58639"/>
                  <a:pt x="638277" y="61169"/>
                </a:cubicBezTo>
                <a:cubicBezTo>
                  <a:pt x="638891" y="63699"/>
                  <a:pt x="639905" y="65866"/>
                  <a:pt x="641319" y="67671"/>
                </a:cubicBezTo>
                <a:cubicBezTo>
                  <a:pt x="642732" y="69475"/>
                  <a:pt x="644574" y="70861"/>
                  <a:pt x="646844" y="71829"/>
                </a:cubicBezTo>
                <a:cubicBezTo>
                  <a:pt x="649113" y="72796"/>
                  <a:pt x="651904" y="73280"/>
                  <a:pt x="655215" y="73280"/>
                </a:cubicBezTo>
                <a:cubicBezTo>
                  <a:pt x="657559" y="73280"/>
                  <a:pt x="659662" y="73075"/>
                  <a:pt x="661522" y="72666"/>
                </a:cubicBezTo>
                <a:cubicBezTo>
                  <a:pt x="663382" y="72257"/>
                  <a:pt x="664992" y="71801"/>
                  <a:pt x="666350" y="71298"/>
                </a:cubicBezTo>
                <a:cubicBezTo>
                  <a:pt x="667708" y="70796"/>
                  <a:pt x="668824" y="70340"/>
                  <a:pt x="669698" y="69931"/>
                </a:cubicBezTo>
                <a:cubicBezTo>
                  <a:pt x="670573" y="69522"/>
                  <a:pt x="671196" y="69317"/>
                  <a:pt x="671568" y="69317"/>
                </a:cubicBezTo>
                <a:cubicBezTo>
                  <a:pt x="671791" y="69317"/>
                  <a:pt x="671996" y="69373"/>
                  <a:pt x="672182" y="69485"/>
                </a:cubicBezTo>
                <a:cubicBezTo>
                  <a:pt x="672368" y="69596"/>
                  <a:pt x="672517" y="69773"/>
                  <a:pt x="672628" y="70015"/>
                </a:cubicBezTo>
                <a:cubicBezTo>
                  <a:pt x="672740" y="70257"/>
                  <a:pt x="672824" y="70564"/>
                  <a:pt x="672879" y="70936"/>
                </a:cubicBezTo>
                <a:cubicBezTo>
                  <a:pt x="672935" y="71308"/>
                  <a:pt x="672963" y="71773"/>
                  <a:pt x="672963" y="72331"/>
                </a:cubicBezTo>
                <a:cubicBezTo>
                  <a:pt x="672963" y="72591"/>
                  <a:pt x="672945" y="72843"/>
                  <a:pt x="672907" y="73084"/>
                </a:cubicBezTo>
                <a:cubicBezTo>
                  <a:pt x="672870" y="73326"/>
                  <a:pt x="672824" y="73549"/>
                  <a:pt x="672768" y="73754"/>
                </a:cubicBezTo>
                <a:cubicBezTo>
                  <a:pt x="672712" y="73959"/>
                  <a:pt x="672628" y="74154"/>
                  <a:pt x="672517" y="74340"/>
                </a:cubicBezTo>
                <a:cubicBezTo>
                  <a:pt x="672405" y="74526"/>
                  <a:pt x="672256" y="74712"/>
                  <a:pt x="672070" y="74898"/>
                </a:cubicBezTo>
                <a:cubicBezTo>
                  <a:pt x="671884" y="75084"/>
                  <a:pt x="671307" y="75410"/>
                  <a:pt x="670340" y="75875"/>
                </a:cubicBezTo>
                <a:cubicBezTo>
                  <a:pt x="669373" y="76340"/>
                  <a:pt x="668108" y="76805"/>
                  <a:pt x="666545" y="77270"/>
                </a:cubicBezTo>
                <a:cubicBezTo>
                  <a:pt x="664982" y="77735"/>
                  <a:pt x="663168" y="78154"/>
                  <a:pt x="661103" y="78526"/>
                </a:cubicBezTo>
                <a:cubicBezTo>
                  <a:pt x="659038" y="78898"/>
                  <a:pt x="656815" y="79084"/>
                  <a:pt x="654434" y="79084"/>
                </a:cubicBezTo>
                <a:cubicBezTo>
                  <a:pt x="650527" y="79084"/>
                  <a:pt x="647067" y="78498"/>
                  <a:pt x="644053" y="77326"/>
                </a:cubicBezTo>
                <a:cubicBezTo>
                  <a:pt x="641039" y="76154"/>
                  <a:pt x="638509" y="74424"/>
                  <a:pt x="636463" y="72136"/>
                </a:cubicBezTo>
                <a:cubicBezTo>
                  <a:pt x="634417" y="69847"/>
                  <a:pt x="632863" y="67010"/>
                  <a:pt x="631803" y="63625"/>
                </a:cubicBezTo>
                <a:cubicBezTo>
                  <a:pt x="630743" y="60239"/>
                  <a:pt x="630212" y="56313"/>
                  <a:pt x="630212" y="51848"/>
                </a:cubicBezTo>
                <a:cubicBezTo>
                  <a:pt x="630212" y="47570"/>
                  <a:pt x="630761" y="43737"/>
                  <a:pt x="631859" y="40352"/>
                </a:cubicBezTo>
                <a:cubicBezTo>
                  <a:pt x="632956" y="36966"/>
                  <a:pt x="634528" y="34091"/>
                  <a:pt x="636575" y="31729"/>
                </a:cubicBezTo>
                <a:cubicBezTo>
                  <a:pt x="638621" y="29366"/>
                  <a:pt x="641086" y="27562"/>
                  <a:pt x="643970" y="26315"/>
                </a:cubicBezTo>
                <a:cubicBezTo>
                  <a:pt x="646853" y="25069"/>
                  <a:pt x="650062" y="24446"/>
                  <a:pt x="653597" y="24446"/>
                </a:cubicBezTo>
                <a:close/>
                <a:moveTo>
                  <a:pt x="475915" y="24446"/>
                </a:moveTo>
                <a:cubicBezTo>
                  <a:pt x="479226" y="24446"/>
                  <a:pt x="482017" y="25004"/>
                  <a:pt x="484286" y="26120"/>
                </a:cubicBezTo>
                <a:cubicBezTo>
                  <a:pt x="486556" y="27236"/>
                  <a:pt x="488388" y="28743"/>
                  <a:pt x="489784" y="30640"/>
                </a:cubicBezTo>
                <a:cubicBezTo>
                  <a:pt x="491179" y="32538"/>
                  <a:pt x="492183" y="34752"/>
                  <a:pt x="492797" y="37282"/>
                </a:cubicBezTo>
                <a:cubicBezTo>
                  <a:pt x="493411" y="39812"/>
                  <a:pt x="493718" y="42863"/>
                  <a:pt x="493718" y="46435"/>
                </a:cubicBezTo>
                <a:lnTo>
                  <a:pt x="493718" y="77019"/>
                </a:lnTo>
                <a:cubicBezTo>
                  <a:pt x="493718" y="77242"/>
                  <a:pt x="493663" y="77447"/>
                  <a:pt x="493551" y="77633"/>
                </a:cubicBezTo>
                <a:cubicBezTo>
                  <a:pt x="493439" y="77819"/>
                  <a:pt x="493263" y="77968"/>
                  <a:pt x="493021" y="78079"/>
                </a:cubicBezTo>
                <a:cubicBezTo>
                  <a:pt x="492779" y="78191"/>
                  <a:pt x="492444" y="78284"/>
                  <a:pt x="492016" y="78358"/>
                </a:cubicBezTo>
                <a:cubicBezTo>
                  <a:pt x="491588" y="78433"/>
                  <a:pt x="491058" y="78470"/>
                  <a:pt x="490425" y="78470"/>
                </a:cubicBezTo>
                <a:cubicBezTo>
                  <a:pt x="489756" y="78470"/>
                  <a:pt x="489207" y="78433"/>
                  <a:pt x="488779" y="78358"/>
                </a:cubicBezTo>
                <a:cubicBezTo>
                  <a:pt x="488351" y="78284"/>
                  <a:pt x="488016" y="78191"/>
                  <a:pt x="487774" y="78079"/>
                </a:cubicBezTo>
                <a:cubicBezTo>
                  <a:pt x="487533" y="77968"/>
                  <a:pt x="487356" y="77819"/>
                  <a:pt x="487244" y="77633"/>
                </a:cubicBezTo>
                <a:cubicBezTo>
                  <a:pt x="487133" y="77447"/>
                  <a:pt x="487077" y="77242"/>
                  <a:pt x="487077" y="77019"/>
                </a:cubicBezTo>
                <a:lnTo>
                  <a:pt x="487077" y="47049"/>
                </a:lnTo>
                <a:cubicBezTo>
                  <a:pt x="487077" y="43923"/>
                  <a:pt x="486835" y="41384"/>
                  <a:pt x="486351" y="39431"/>
                </a:cubicBezTo>
                <a:cubicBezTo>
                  <a:pt x="485868" y="37477"/>
                  <a:pt x="485142" y="35803"/>
                  <a:pt x="484175" y="34408"/>
                </a:cubicBezTo>
                <a:cubicBezTo>
                  <a:pt x="483207" y="33012"/>
                  <a:pt x="481970" y="31933"/>
                  <a:pt x="480463" y="31171"/>
                </a:cubicBezTo>
                <a:cubicBezTo>
                  <a:pt x="478956" y="30408"/>
                  <a:pt x="477198" y="30027"/>
                  <a:pt x="475189" y="30027"/>
                </a:cubicBezTo>
                <a:cubicBezTo>
                  <a:pt x="472622" y="30027"/>
                  <a:pt x="470055" y="30938"/>
                  <a:pt x="467487" y="32761"/>
                </a:cubicBezTo>
                <a:cubicBezTo>
                  <a:pt x="464920" y="34584"/>
                  <a:pt x="462223" y="37263"/>
                  <a:pt x="459395" y="40798"/>
                </a:cubicBezTo>
                <a:lnTo>
                  <a:pt x="459395" y="77019"/>
                </a:lnTo>
                <a:cubicBezTo>
                  <a:pt x="459395" y="77242"/>
                  <a:pt x="459339" y="77447"/>
                  <a:pt x="459227" y="77633"/>
                </a:cubicBezTo>
                <a:cubicBezTo>
                  <a:pt x="459116" y="77819"/>
                  <a:pt x="458939" y="77968"/>
                  <a:pt x="458697" y="78079"/>
                </a:cubicBezTo>
                <a:cubicBezTo>
                  <a:pt x="458455" y="78191"/>
                  <a:pt x="458120" y="78284"/>
                  <a:pt x="457693" y="78358"/>
                </a:cubicBezTo>
                <a:cubicBezTo>
                  <a:pt x="457265" y="78433"/>
                  <a:pt x="456716" y="78470"/>
                  <a:pt x="456046" y="78470"/>
                </a:cubicBezTo>
                <a:cubicBezTo>
                  <a:pt x="455414" y="78470"/>
                  <a:pt x="454883" y="78433"/>
                  <a:pt x="454456" y="78358"/>
                </a:cubicBezTo>
                <a:cubicBezTo>
                  <a:pt x="454028" y="78284"/>
                  <a:pt x="453683" y="78191"/>
                  <a:pt x="453423" y="78079"/>
                </a:cubicBezTo>
                <a:cubicBezTo>
                  <a:pt x="453163" y="77968"/>
                  <a:pt x="452986" y="77819"/>
                  <a:pt x="452893" y="77633"/>
                </a:cubicBezTo>
                <a:cubicBezTo>
                  <a:pt x="452800" y="77447"/>
                  <a:pt x="452753" y="77242"/>
                  <a:pt x="452753" y="77019"/>
                </a:cubicBezTo>
                <a:lnTo>
                  <a:pt x="452753" y="26510"/>
                </a:lnTo>
                <a:cubicBezTo>
                  <a:pt x="452753" y="26287"/>
                  <a:pt x="452800" y="26083"/>
                  <a:pt x="452893" y="25897"/>
                </a:cubicBezTo>
                <a:cubicBezTo>
                  <a:pt x="452986" y="25711"/>
                  <a:pt x="453163" y="25552"/>
                  <a:pt x="453423" y="25422"/>
                </a:cubicBezTo>
                <a:cubicBezTo>
                  <a:pt x="453683" y="25292"/>
                  <a:pt x="454009" y="25199"/>
                  <a:pt x="454400" y="25143"/>
                </a:cubicBezTo>
                <a:cubicBezTo>
                  <a:pt x="454790" y="25087"/>
                  <a:pt x="455302" y="25059"/>
                  <a:pt x="455935" y="25059"/>
                </a:cubicBezTo>
                <a:cubicBezTo>
                  <a:pt x="456567" y="25059"/>
                  <a:pt x="457088" y="25087"/>
                  <a:pt x="457497" y="25143"/>
                </a:cubicBezTo>
                <a:cubicBezTo>
                  <a:pt x="457907" y="25199"/>
                  <a:pt x="458223" y="25292"/>
                  <a:pt x="458446" y="25422"/>
                </a:cubicBezTo>
                <a:cubicBezTo>
                  <a:pt x="458669" y="25552"/>
                  <a:pt x="458827" y="25711"/>
                  <a:pt x="458920" y="25897"/>
                </a:cubicBezTo>
                <a:cubicBezTo>
                  <a:pt x="459013" y="26083"/>
                  <a:pt x="459060" y="26287"/>
                  <a:pt x="459060" y="26510"/>
                </a:cubicBezTo>
                <a:lnTo>
                  <a:pt x="459060" y="33654"/>
                </a:lnTo>
                <a:cubicBezTo>
                  <a:pt x="461962" y="30417"/>
                  <a:pt x="464808" y="28073"/>
                  <a:pt x="467599" y="26622"/>
                </a:cubicBezTo>
                <a:cubicBezTo>
                  <a:pt x="470389" y="25171"/>
                  <a:pt x="473161" y="24446"/>
                  <a:pt x="475915" y="24446"/>
                </a:cubicBezTo>
                <a:close/>
                <a:moveTo>
                  <a:pt x="416588" y="24446"/>
                </a:moveTo>
                <a:cubicBezTo>
                  <a:pt x="420532" y="24446"/>
                  <a:pt x="423983" y="25059"/>
                  <a:pt x="426941" y="26287"/>
                </a:cubicBezTo>
                <a:cubicBezTo>
                  <a:pt x="429899" y="27515"/>
                  <a:pt x="432364" y="29292"/>
                  <a:pt x="434336" y="31617"/>
                </a:cubicBezTo>
                <a:cubicBezTo>
                  <a:pt x="436308" y="33943"/>
                  <a:pt x="437796" y="36761"/>
                  <a:pt x="438801" y="40072"/>
                </a:cubicBezTo>
                <a:cubicBezTo>
                  <a:pt x="439805" y="43384"/>
                  <a:pt x="440308" y="47105"/>
                  <a:pt x="440308" y="51235"/>
                </a:cubicBezTo>
                <a:cubicBezTo>
                  <a:pt x="440308" y="55253"/>
                  <a:pt x="439787" y="58955"/>
                  <a:pt x="438745" y="62341"/>
                </a:cubicBezTo>
                <a:cubicBezTo>
                  <a:pt x="437703" y="65727"/>
                  <a:pt x="436150" y="68666"/>
                  <a:pt x="434085" y="71159"/>
                </a:cubicBezTo>
                <a:cubicBezTo>
                  <a:pt x="432020" y="73652"/>
                  <a:pt x="429443" y="75596"/>
                  <a:pt x="426355" y="76991"/>
                </a:cubicBezTo>
                <a:cubicBezTo>
                  <a:pt x="423267" y="78386"/>
                  <a:pt x="419676" y="79084"/>
                  <a:pt x="415584" y="79084"/>
                </a:cubicBezTo>
                <a:cubicBezTo>
                  <a:pt x="411640" y="79084"/>
                  <a:pt x="408189" y="78461"/>
                  <a:pt x="405231" y="77214"/>
                </a:cubicBezTo>
                <a:cubicBezTo>
                  <a:pt x="402273" y="75968"/>
                  <a:pt x="399798" y="74182"/>
                  <a:pt x="397808" y="71857"/>
                </a:cubicBezTo>
                <a:cubicBezTo>
                  <a:pt x="395817" y="69531"/>
                  <a:pt x="394329" y="66713"/>
                  <a:pt x="393343" y="63401"/>
                </a:cubicBezTo>
                <a:cubicBezTo>
                  <a:pt x="392357" y="60090"/>
                  <a:pt x="391864" y="56351"/>
                  <a:pt x="391864" y="52183"/>
                </a:cubicBezTo>
                <a:cubicBezTo>
                  <a:pt x="391864" y="48165"/>
                  <a:pt x="392376" y="44463"/>
                  <a:pt x="393399" y="41077"/>
                </a:cubicBezTo>
                <a:cubicBezTo>
                  <a:pt x="394422" y="37691"/>
                  <a:pt x="395966" y="34761"/>
                  <a:pt x="398031" y="32287"/>
                </a:cubicBezTo>
                <a:cubicBezTo>
                  <a:pt x="400096" y="29813"/>
                  <a:pt x="402673" y="27887"/>
                  <a:pt x="405761" y="26510"/>
                </a:cubicBezTo>
                <a:cubicBezTo>
                  <a:pt x="408849" y="25134"/>
                  <a:pt x="412458" y="24446"/>
                  <a:pt x="416588" y="24446"/>
                </a:cubicBezTo>
                <a:close/>
                <a:moveTo>
                  <a:pt x="366787" y="24446"/>
                </a:moveTo>
                <a:cubicBezTo>
                  <a:pt x="368461" y="24446"/>
                  <a:pt x="370061" y="24604"/>
                  <a:pt x="371586" y="24920"/>
                </a:cubicBezTo>
                <a:cubicBezTo>
                  <a:pt x="373112" y="25236"/>
                  <a:pt x="374516" y="25655"/>
                  <a:pt x="375800" y="26176"/>
                </a:cubicBezTo>
                <a:cubicBezTo>
                  <a:pt x="377084" y="26697"/>
                  <a:pt x="378228" y="27292"/>
                  <a:pt x="379232" y="27962"/>
                </a:cubicBezTo>
                <a:cubicBezTo>
                  <a:pt x="380237" y="28631"/>
                  <a:pt x="380972" y="29199"/>
                  <a:pt x="381437" y="29664"/>
                </a:cubicBezTo>
                <a:cubicBezTo>
                  <a:pt x="381902" y="30129"/>
                  <a:pt x="382218" y="30482"/>
                  <a:pt x="382386" y="30724"/>
                </a:cubicBezTo>
                <a:cubicBezTo>
                  <a:pt x="382553" y="30966"/>
                  <a:pt x="382683" y="31236"/>
                  <a:pt x="382776" y="31533"/>
                </a:cubicBezTo>
                <a:cubicBezTo>
                  <a:pt x="382869" y="31831"/>
                  <a:pt x="382934" y="32157"/>
                  <a:pt x="382972" y="32510"/>
                </a:cubicBezTo>
                <a:cubicBezTo>
                  <a:pt x="383009" y="32864"/>
                  <a:pt x="383027" y="33282"/>
                  <a:pt x="383027" y="33766"/>
                </a:cubicBezTo>
                <a:cubicBezTo>
                  <a:pt x="383027" y="34845"/>
                  <a:pt x="382869" y="35598"/>
                  <a:pt x="382553" y="36026"/>
                </a:cubicBezTo>
                <a:cubicBezTo>
                  <a:pt x="382237" y="36454"/>
                  <a:pt x="381893" y="36668"/>
                  <a:pt x="381521" y="36668"/>
                </a:cubicBezTo>
                <a:cubicBezTo>
                  <a:pt x="381000" y="36668"/>
                  <a:pt x="380358" y="36333"/>
                  <a:pt x="379595" y="35663"/>
                </a:cubicBezTo>
                <a:cubicBezTo>
                  <a:pt x="378832" y="34994"/>
                  <a:pt x="377856" y="34259"/>
                  <a:pt x="376665" y="33459"/>
                </a:cubicBezTo>
                <a:cubicBezTo>
                  <a:pt x="375474" y="32659"/>
                  <a:pt x="374033" y="31924"/>
                  <a:pt x="372340" y="31254"/>
                </a:cubicBezTo>
                <a:cubicBezTo>
                  <a:pt x="370647" y="30585"/>
                  <a:pt x="368628" y="30250"/>
                  <a:pt x="366284" y="30250"/>
                </a:cubicBezTo>
                <a:cubicBezTo>
                  <a:pt x="361447" y="30250"/>
                  <a:pt x="357718" y="32110"/>
                  <a:pt x="355094" y="35831"/>
                </a:cubicBezTo>
                <a:cubicBezTo>
                  <a:pt x="352471" y="39552"/>
                  <a:pt x="351160" y="44928"/>
                  <a:pt x="351160" y="51960"/>
                </a:cubicBezTo>
                <a:cubicBezTo>
                  <a:pt x="351160" y="55495"/>
                  <a:pt x="351513" y="58592"/>
                  <a:pt x="352220" y="61253"/>
                </a:cubicBezTo>
                <a:cubicBezTo>
                  <a:pt x="352927" y="63913"/>
                  <a:pt x="353941" y="66127"/>
                  <a:pt x="355262" y="67894"/>
                </a:cubicBezTo>
                <a:cubicBezTo>
                  <a:pt x="356583" y="69661"/>
                  <a:pt x="358192" y="70982"/>
                  <a:pt x="360089" y="71857"/>
                </a:cubicBezTo>
                <a:cubicBezTo>
                  <a:pt x="361987" y="72731"/>
                  <a:pt x="364126" y="73168"/>
                  <a:pt x="366507" y="73168"/>
                </a:cubicBezTo>
                <a:cubicBezTo>
                  <a:pt x="368740" y="73168"/>
                  <a:pt x="370712" y="72815"/>
                  <a:pt x="372423" y="72108"/>
                </a:cubicBezTo>
                <a:cubicBezTo>
                  <a:pt x="374135" y="71401"/>
                  <a:pt x="375623" y="70619"/>
                  <a:pt x="376888" y="69764"/>
                </a:cubicBezTo>
                <a:cubicBezTo>
                  <a:pt x="378153" y="68908"/>
                  <a:pt x="379204" y="68127"/>
                  <a:pt x="380041" y="67420"/>
                </a:cubicBezTo>
                <a:cubicBezTo>
                  <a:pt x="380879" y="66713"/>
                  <a:pt x="381502" y="66359"/>
                  <a:pt x="381911" y="66359"/>
                </a:cubicBezTo>
                <a:cubicBezTo>
                  <a:pt x="382134" y="66359"/>
                  <a:pt x="382330" y="66424"/>
                  <a:pt x="382497" y="66555"/>
                </a:cubicBezTo>
                <a:cubicBezTo>
                  <a:pt x="382665" y="66685"/>
                  <a:pt x="382804" y="66889"/>
                  <a:pt x="382916" y="67168"/>
                </a:cubicBezTo>
                <a:cubicBezTo>
                  <a:pt x="383027" y="67448"/>
                  <a:pt x="383111" y="67782"/>
                  <a:pt x="383167" y="68173"/>
                </a:cubicBezTo>
                <a:cubicBezTo>
                  <a:pt x="383223" y="68564"/>
                  <a:pt x="383251" y="69020"/>
                  <a:pt x="383251" y="69540"/>
                </a:cubicBezTo>
                <a:cubicBezTo>
                  <a:pt x="383251" y="69987"/>
                  <a:pt x="383232" y="70387"/>
                  <a:pt x="383195" y="70740"/>
                </a:cubicBezTo>
                <a:cubicBezTo>
                  <a:pt x="383158" y="71094"/>
                  <a:pt x="383102" y="71401"/>
                  <a:pt x="383027" y="71661"/>
                </a:cubicBezTo>
                <a:cubicBezTo>
                  <a:pt x="382953" y="71922"/>
                  <a:pt x="382851" y="72154"/>
                  <a:pt x="382720" y="72359"/>
                </a:cubicBezTo>
                <a:cubicBezTo>
                  <a:pt x="382590" y="72563"/>
                  <a:pt x="382283" y="72908"/>
                  <a:pt x="381800" y="73391"/>
                </a:cubicBezTo>
                <a:cubicBezTo>
                  <a:pt x="381316" y="73875"/>
                  <a:pt x="380507" y="74489"/>
                  <a:pt x="379372" y="75233"/>
                </a:cubicBezTo>
                <a:cubicBezTo>
                  <a:pt x="378237" y="75977"/>
                  <a:pt x="376963" y="76628"/>
                  <a:pt x="375549" y="77186"/>
                </a:cubicBezTo>
                <a:cubicBezTo>
                  <a:pt x="374135" y="77745"/>
                  <a:pt x="372609" y="78200"/>
                  <a:pt x="370972" y="78554"/>
                </a:cubicBezTo>
                <a:cubicBezTo>
                  <a:pt x="369335" y="78907"/>
                  <a:pt x="367642" y="79084"/>
                  <a:pt x="365894" y="79084"/>
                </a:cubicBezTo>
                <a:cubicBezTo>
                  <a:pt x="362396" y="79084"/>
                  <a:pt x="359299" y="78498"/>
                  <a:pt x="356601" y="77326"/>
                </a:cubicBezTo>
                <a:cubicBezTo>
                  <a:pt x="353904" y="76154"/>
                  <a:pt x="351644" y="74424"/>
                  <a:pt x="349820" y="72136"/>
                </a:cubicBezTo>
                <a:cubicBezTo>
                  <a:pt x="347997" y="69847"/>
                  <a:pt x="346611" y="67038"/>
                  <a:pt x="345662" y="63708"/>
                </a:cubicBezTo>
                <a:cubicBezTo>
                  <a:pt x="344714" y="60378"/>
                  <a:pt x="344239" y="56537"/>
                  <a:pt x="344239" y="52183"/>
                </a:cubicBezTo>
                <a:cubicBezTo>
                  <a:pt x="344239" y="47272"/>
                  <a:pt x="344825" y="43068"/>
                  <a:pt x="345997" y="39570"/>
                </a:cubicBezTo>
                <a:cubicBezTo>
                  <a:pt x="347169" y="36073"/>
                  <a:pt x="348779" y="33208"/>
                  <a:pt x="350825" y="30975"/>
                </a:cubicBezTo>
                <a:cubicBezTo>
                  <a:pt x="352871" y="28743"/>
                  <a:pt x="355262" y="27097"/>
                  <a:pt x="357997" y="26036"/>
                </a:cubicBezTo>
                <a:cubicBezTo>
                  <a:pt x="360731" y="24976"/>
                  <a:pt x="363661" y="24446"/>
                  <a:pt x="366787" y="24446"/>
                </a:cubicBezTo>
                <a:close/>
                <a:moveTo>
                  <a:pt x="176287" y="24446"/>
                </a:moveTo>
                <a:cubicBezTo>
                  <a:pt x="177961" y="24446"/>
                  <a:pt x="179561" y="24604"/>
                  <a:pt x="181086" y="24920"/>
                </a:cubicBezTo>
                <a:cubicBezTo>
                  <a:pt x="182612" y="25236"/>
                  <a:pt x="184017" y="25655"/>
                  <a:pt x="185300" y="26176"/>
                </a:cubicBezTo>
                <a:cubicBezTo>
                  <a:pt x="186584" y="26697"/>
                  <a:pt x="187728" y="27292"/>
                  <a:pt x="188733" y="27962"/>
                </a:cubicBezTo>
                <a:cubicBezTo>
                  <a:pt x="189737" y="28631"/>
                  <a:pt x="190472" y="29199"/>
                  <a:pt x="190937" y="29664"/>
                </a:cubicBezTo>
                <a:cubicBezTo>
                  <a:pt x="191402" y="30129"/>
                  <a:pt x="191718" y="30482"/>
                  <a:pt x="191886" y="30724"/>
                </a:cubicBezTo>
                <a:cubicBezTo>
                  <a:pt x="192053" y="30966"/>
                  <a:pt x="192183" y="31236"/>
                  <a:pt x="192276" y="31533"/>
                </a:cubicBezTo>
                <a:cubicBezTo>
                  <a:pt x="192370" y="31831"/>
                  <a:pt x="192435" y="32157"/>
                  <a:pt x="192472" y="32510"/>
                </a:cubicBezTo>
                <a:cubicBezTo>
                  <a:pt x="192509" y="32864"/>
                  <a:pt x="192528" y="33282"/>
                  <a:pt x="192528" y="33766"/>
                </a:cubicBezTo>
                <a:cubicBezTo>
                  <a:pt x="192528" y="34845"/>
                  <a:pt x="192370" y="35598"/>
                  <a:pt x="192053" y="36026"/>
                </a:cubicBezTo>
                <a:cubicBezTo>
                  <a:pt x="191737" y="36454"/>
                  <a:pt x="191393" y="36668"/>
                  <a:pt x="191021" y="36668"/>
                </a:cubicBezTo>
                <a:cubicBezTo>
                  <a:pt x="190500" y="36668"/>
                  <a:pt x="189858" y="36333"/>
                  <a:pt x="189095" y="35663"/>
                </a:cubicBezTo>
                <a:cubicBezTo>
                  <a:pt x="188333" y="34994"/>
                  <a:pt x="187356" y="34259"/>
                  <a:pt x="186165" y="33459"/>
                </a:cubicBezTo>
                <a:cubicBezTo>
                  <a:pt x="184975" y="32659"/>
                  <a:pt x="183533" y="31924"/>
                  <a:pt x="181840" y="31254"/>
                </a:cubicBezTo>
                <a:cubicBezTo>
                  <a:pt x="180147" y="30585"/>
                  <a:pt x="178129" y="30250"/>
                  <a:pt x="175784" y="30250"/>
                </a:cubicBezTo>
                <a:cubicBezTo>
                  <a:pt x="170948" y="30250"/>
                  <a:pt x="167218" y="32110"/>
                  <a:pt x="164594" y="35831"/>
                </a:cubicBezTo>
                <a:cubicBezTo>
                  <a:pt x="161971" y="39552"/>
                  <a:pt x="160660" y="44928"/>
                  <a:pt x="160660" y="51960"/>
                </a:cubicBezTo>
                <a:cubicBezTo>
                  <a:pt x="160660" y="55495"/>
                  <a:pt x="161013" y="58592"/>
                  <a:pt x="161720" y="61253"/>
                </a:cubicBezTo>
                <a:cubicBezTo>
                  <a:pt x="162427" y="63913"/>
                  <a:pt x="163441" y="66127"/>
                  <a:pt x="164762" y="67894"/>
                </a:cubicBezTo>
                <a:cubicBezTo>
                  <a:pt x="166083" y="69661"/>
                  <a:pt x="167692" y="70982"/>
                  <a:pt x="169590" y="71857"/>
                </a:cubicBezTo>
                <a:cubicBezTo>
                  <a:pt x="171487" y="72731"/>
                  <a:pt x="173626" y="73168"/>
                  <a:pt x="176008" y="73168"/>
                </a:cubicBezTo>
                <a:cubicBezTo>
                  <a:pt x="178240" y="73168"/>
                  <a:pt x="180212" y="72815"/>
                  <a:pt x="181924" y="72108"/>
                </a:cubicBezTo>
                <a:cubicBezTo>
                  <a:pt x="183635" y="71401"/>
                  <a:pt x="185123" y="70619"/>
                  <a:pt x="186388" y="69764"/>
                </a:cubicBezTo>
                <a:cubicBezTo>
                  <a:pt x="187654" y="68908"/>
                  <a:pt x="188705" y="68127"/>
                  <a:pt x="189542" y="67420"/>
                </a:cubicBezTo>
                <a:cubicBezTo>
                  <a:pt x="190379" y="66713"/>
                  <a:pt x="191002" y="66359"/>
                  <a:pt x="191411" y="66359"/>
                </a:cubicBezTo>
                <a:cubicBezTo>
                  <a:pt x="191635" y="66359"/>
                  <a:pt x="191830" y="66424"/>
                  <a:pt x="191997" y="66555"/>
                </a:cubicBezTo>
                <a:cubicBezTo>
                  <a:pt x="192165" y="66685"/>
                  <a:pt x="192304" y="66889"/>
                  <a:pt x="192416" y="67168"/>
                </a:cubicBezTo>
                <a:cubicBezTo>
                  <a:pt x="192528" y="67448"/>
                  <a:pt x="192611" y="67782"/>
                  <a:pt x="192667" y="68173"/>
                </a:cubicBezTo>
                <a:cubicBezTo>
                  <a:pt x="192723" y="68564"/>
                  <a:pt x="192751" y="69020"/>
                  <a:pt x="192751" y="69540"/>
                </a:cubicBezTo>
                <a:cubicBezTo>
                  <a:pt x="192751" y="69987"/>
                  <a:pt x="192732" y="70387"/>
                  <a:pt x="192695" y="70740"/>
                </a:cubicBezTo>
                <a:cubicBezTo>
                  <a:pt x="192658" y="71094"/>
                  <a:pt x="192602" y="71401"/>
                  <a:pt x="192528" y="71661"/>
                </a:cubicBezTo>
                <a:cubicBezTo>
                  <a:pt x="192453" y="71922"/>
                  <a:pt x="192351" y="72154"/>
                  <a:pt x="192221" y="72359"/>
                </a:cubicBezTo>
                <a:cubicBezTo>
                  <a:pt x="192090" y="72563"/>
                  <a:pt x="191784" y="72908"/>
                  <a:pt x="191300" y="73391"/>
                </a:cubicBezTo>
                <a:cubicBezTo>
                  <a:pt x="190816" y="73875"/>
                  <a:pt x="190007" y="74489"/>
                  <a:pt x="188872" y="75233"/>
                </a:cubicBezTo>
                <a:cubicBezTo>
                  <a:pt x="187737" y="75977"/>
                  <a:pt x="186463" y="76628"/>
                  <a:pt x="185049" y="77186"/>
                </a:cubicBezTo>
                <a:cubicBezTo>
                  <a:pt x="183635" y="77745"/>
                  <a:pt x="182110" y="78200"/>
                  <a:pt x="180473" y="78554"/>
                </a:cubicBezTo>
                <a:cubicBezTo>
                  <a:pt x="178835" y="78907"/>
                  <a:pt x="177143" y="79084"/>
                  <a:pt x="175394" y="79084"/>
                </a:cubicBezTo>
                <a:cubicBezTo>
                  <a:pt x="171896" y="79084"/>
                  <a:pt x="168799" y="78498"/>
                  <a:pt x="166101" y="77326"/>
                </a:cubicBezTo>
                <a:cubicBezTo>
                  <a:pt x="163404" y="76154"/>
                  <a:pt x="161144" y="74424"/>
                  <a:pt x="159320" y="72136"/>
                </a:cubicBezTo>
                <a:cubicBezTo>
                  <a:pt x="157497" y="69847"/>
                  <a:pt x="156111" y="67038"/>
                  <a:pt x="155162" y="63708"/>
                </a:cubicBezTo>
                <a:cubicBezTo>
                  <a:pt x="154214" y="60378"/>
                  <a:pt x="153739" y="56537"/>
                  <a:pt x="153739" y="52183"/>
                </a:cubicBezTo>
                <a:cubicBezTo>
                  <a:pt x="153739" y="47272"/>
                  <a:pt x="154325" y="43068"/>
                  <a:pt x="155497" y="39570"/>
                </a:cubicBezTo>
                <a:cubicBezTo>
                  <a:pt x="156669" y="36073"/>
                  <a:pt x="158279" y="33208"/>
                  <a:pt x="160325" y="30975"/>
                </a:cubicBezTo>
                <a:cubicBezTo>
                  <a:pt x="162371" y="28743"/>
                  <a:pt x="164762" y="27097"/>
                  <a:pt x="167497" y="26036"/>
                </a:cubicBezTo>
                <a:cubicBezTo>
                  <a:pt x="170231" y="24976"/>
                  <a:pt x="173161" y="24446"/>
                  <a:pt x="176287" y="24446"/>
                </a:cubicBezTo>
                <a:close/>
                <a:moveTo>
                  <a:pt x="111174" y="24446"/>
                </a:moveTo>
                <a:cubicBezTo>
                  <a:pt x="111658" y="24446"/>
                  <a:pt x="112216" y="24473"/>
                  <a:pt x="112849" y="24529"/>
                </a:cubicBezTo>
                <a:cubicBezTo>
                  <a:pt x="113481" y="24585"/>
                  <a:pt x="114160" y="24687"/>
                  <a:pt x="114886" y="24836"/>
                </a:cubicBezTo>
                <a:cubicBezTo>
                  <a:pt x="115611" y="24985"/>
                  <a:pt x="116263" y="25162"/>
                  <a:pt x="116839" y="25366"/>
                </a:cubicBezTo>
                <a:cubicBezTo>
                  <a:pt x="117416" y="25571"/>
                  <a:pt x="117816" y="25757"/>
                  <a:pt x="118039" y="25924"/>
                </a:cubicBezTo>
                <a:cubicBezTo>
                  <a:pt x="118262" y="26092"/>
                  <a:pt x="118411" y="26241"/>
                  <a:pt x="118486" y="26371"/>
                </a:cubicBezTo>
                <a:cubicBezTo>
                  <a:pt x="118560" y="26501"/>
                  <a:pt x="118625" y="26669"/>
                  <a:pt x="118681" y="26873"/>
                </a:cubicBezTo>
                <a:cubicBezTo>
                  <a:pt x="118737" y="27078"/>
                  <a:pt x="118774" y="27357"/>
                  <a:pt x="118793" y="27710"/>
                </a:cubicBezTo>
                <a:cubicBezTo>
                  <a:pt x="118811" y="28064"/>
                  <a:pt x="118821" y="28520"/>
                  <a:pt x="118821" y="29078"/>
                </a:cubicBezTo>
                <a:cubicBezTo>
                  <a:pt x="118821" y="29636"/>
                  <a:pt x="118802" y="30110"/>
                  <a:pt x="118765" y="30501"/>
                </a:cubicBezTo>
                <a:cubicBezTo>
                  <a:pt x="118727" y="30892"/>
                  <a:pt x="118662" y="31208"/>
                  <a:pt x="118569" y="31450"/>
                </a:cubicBezTo>
                <a:cubicBezTo>
                  <a:pt x="118476" y="31692"/>
                  <a:pt x="118365" y="31878"/>
                  <a:pt x="118234" y="32008"/>
                </a:cubicBezTo>
                <a:cubicBezTo>
                  <a:pt x="118104" y="32138"/>
                  <a:pt x="117928" y="32203"/>
                  <a:pt x="117704" y="32203"/>
                </a:cubicBezTo>
                <a:cubicBezTo>
                  <a:pt x="117369" y="32203"/>
                  <a:pt x="116979" y="32119"/>
                  <a:pt x="116532" y="31952"/>
                </a:cubicBezTo>
                <a:cubicBezTo>
                  <a:pt x="116086" y="31785"/>
                  <a:pt x="115565" y="31608"/>
                  <a:pt x="114970" y="31422"/>
                </a:cubicBezTo>
                <a:cubicBezTo>
                  <a:pt x="114374" y="31236"/>
                  <a:pt x="113723" y="31059"/>
                  <a:pt x="113016" y="30892"/>
                </a:cubicBezTo>
                <a:cubicBezTo>
                  <a:pt x="112309" y="30724"/>
                  <a:pt x="111528" y="30640"/>
                  <a:pt x="110672" y="30640"/>
                </a:cubicBezTo>
                <a:cubicBezTo>
                  <a:pt x="109668" y="30640"/>
                  <a:pt x="108682" y="30854"/>
                  <a:pt x="107714" y="31282"/>
                </a:cubicBezTo>
                <a:cubicBezTo>
                  <a:pt x="106747" y="31710"/>
                  <a:pt x="105733" y="32399"/>
                  <a:pt x="104673" y="33347"/>
                </a:cubicBezTo>
                <a:cubicBezTo>
                  <a:pt x="103612" y="34296"/>
                  <a:pt x="102496" y="35552"/>
                  <a:pt x="101324" y="37114"/>
                </a:cubicBezTo>
                <a:cubicBezTo>
                  <a:pt x="100152" y="38677"/>
                  <a:pt x="98859" y="40593"/>
                  <a:pt x="97445" y="42863"/>
                </a:cubicBezTo>
                <a:lnTo>
                  <a:pt x="97445" y="77019"/>
                </a:lnTo>
                <a:cubicBezTo>
                  <a:pt x="97445" y="77242"/>
                  <a:pt x="97389" y="77447"/>
                  <a:pt x="97278" y="77633"/>
                </a:cubicBezTo>
                <a:cubicBezTo>
                  <a:pt x="97166" y="77819"/>
                  <a:pt x="96989" y="77968"/>
                  <a:pt x="96747" y="78079"/>
                </a:cubicBezTo>
                <a:cubicBezTo>
                  <a:pt x="96506" y="78191"/>
                  <a:pt x="96171" y="78284"/>
                  <a:pt x="95743" y="78358"/>
                </a:cubicBezTo>
                <a:cubicBezTo>
                  <a:pt x="95315" y="78433"/>
                  <a:pt x="94766" y="78470"/>
                  <a:pt x="94096" y="78470"/>
                </a:cubicBezTo>
                <a:cubicBezTo>
                  <a:pt x="93464" y="78470"/>
                  <a:pt x="92934" y="78433"/>
                  <a:pt x="92506" y="78358"/>
                </a:cubicBezTo>
                <a:cubicBezTo>
                  <a:pt x="92078" y="78284"/>
                  <a:pt x="91734" y="78191"/>
                  <a:pt x="91473" y="78079"/>
                </a:cubicBezTo>
                <a:cubicBezTo>
                  <a:pt x="91213" y="77968"/>
                  <a:pt x="91036" y="77819"/>
                  <a:pt x="90943" y="77633"/>
                </a:cubicBezTo>
                <a:cubicBezTo>
                  <a:pt x="90850" y="77447"/>
                  <a:pt x="90804" y="77242"/>
                  <a:pt x="90804" y="77019"/>
                </a:cubicBezTo>
                <a:lnTo>
                  <a:pt x="90804" y="26510"/>
                </a:lnTo>
                <a:cubicBezTo>
                  <a:pt x="90804" y="26287"/>
                  <a:pt x="90850" y="26083"/>
                  <a:pt x="90943" y="25897"/>
                </a:cubicBezTo>
                <a:cubicBezTo>
                  <a:pt x="91036" y="25711"/>
                  <a:pt x="91213" y="25552"/>
                  <a:pt x="91473" y="25422"/>
                </a:cubicBezTo>
                <a:cubicBezTo>
                  <a:pt x="91734" y="25292"/>
                  <a:pt x="92059" y="25199"/>
                  <a:pt x="92450" y="25143"/>
                </a:cubicBezTo>
                <a:cubicBezTo>
                  <a:pt x="92841" y="25087"/>
                  <a:pt x="93352" y="25059"/>
                  <a:pt x="93985" y="25059"/>
                </a:cubicBezTo>
                <a:cubicBezTo>
                  <a:pt x="94617" y="25059"/>
                  <a:pt x="95138" y="25087"/>
                  <a:pt x="95548" y="25143"/>
                </a:cubicBezTo>
                <a:cubicBezTo>
                  <a:pt x="95957" y="25199"/>
                  <a:pt x="96273" y="25292"/>
                  <a:pt x="96496" y="25422"/>
                </a:cubicBezTo>
                <a:cubicBezTo>
                  <a:pt x="96720" y="25552"/>
                  <a:pt x="96878" y="25711"/>
                  <a:pt x="96971" y="25897"/>
                </a:cubicBezTo>
                <a:cubicBezTo>
                  <a:pt x="97064" y="26083"/>
                  <a:pt x="97110" y="26287"/>
                  <a:pt x="97110" y="26510"/>
                </a:cubicBezTo>
                <a:lnTo>
                  <a:pt x="97110" y="34491"/>
                </a:lnTo>
                <a:cubicBezTo>
                  <a:pt x="98561" y="32371"/>
                  <a:pt x="99901" y="30659"/>
                  <a:pt x="101129" y="29357"/>
                </a:cubicBezTo>
                <a:cubicBezTo>
                  <a:pt x="102356" y="28055"/>
                  <a:pt x="103528" y="27041"/>
                  <a:pt x="104645" y="26315"/>
                </a:cubicBezTo>
                <a:cubicBezTo>
                  <a:pt x="105761" y="25590"/>
                  <a:pt x="106849" y="25097"/>
                  <a:pt x="107910" y="24836"/>
                </a:cubicBezTo>
                <a:cubicBezTo>
                  <a:pt x="108970" y="24576"/>
                  <a:pt x="110058" y="24446"/>
                  <a:pt x="111174" y="24446"/>
                </a:cubicBezTo>
                <a:close/>
                <a:moveTo>
                  <a:pt x="753386" y="11497"/>
                </a:moveTo>
                <a:cubicBezTo>
                  <a:pt x="754056" y="11497"/>
                  <a:pt x="754605" y="11525"/>
                  <a:pt x="755033" y="11581"/>
                </a:cubicBezTo>
                <a:cubicBezTo>
                  <a:pt x="755460" y="11637"/>
                  <a:pt x="755795" y="11730"/>
                  <a:pt x="756037" y="11860"/>
                </a:cubicBezTo>
                <a:cubicBezTo>
                  <a:pt x="756279" y="11990"/>
                  <a:pt x="756456" y="12149"/>
                  <a:pt x="756567" y="12335"/>
                </a:cubicBezTo>
                <a:cubicBezTo>
                  <a:pt x="756679" y="12521"/>
                  <a:pt x="756735" y="12725"/>
                  <a:pt x="756735" y="12949"/>
                </a:cubicBezTo>
                <a:lnTo>
                  <a:pt x="756735" y="25338"/>
                </a:lnTo>
                <a:lnTo>
                  <a:pt x="770687" y="25338"/>
                </a:lnTo>
                <a:cubicBezTo>
                  <a:pt x="770948" y="25338"/>
                  <a:pt x="771180" y="25394"/>
                  <a:pt x="771385" y="25506"/>
                </a:cubicBezTo>
                <a:cubicBezTo>
                  <a:pt x="771590" y="25618"/>
                  <a:pt x="771766" y="25794"/>
                  <a:pt x="771915" y="26036"/>
                </a:cubicBezTo>
                <a:cubicBezTo>
                  <a:pt x="772064" y="26278"/>
                  <a:pt x="772176" y="26576"/>
                  <a:pt x="772250" y="26929"/>
                </a:cubicBezTo>
                <a:cubicBezTo>
                  <a:pt x="772325" y="27283"/>
                  <a:pt x="772362" y="27701"/>
                  <a:pt x="772362" y="28185"/>
                </a:cubicBezTo>
                <a:cubicBezTo>
                  <a:pt x="772362" y="29115"/>
                  <a:pt x="772204" y="29813"/>
                  <a:pt x="771887" y="30278"/>
                </a:cubicBezTo>
                <a:cubicBezTo>
                  <a:pt x="771571" y="30743"/>
                  <a:pt x="771171" y="30975"/>
                  <a:pt x="770687" y="30975"/>
                </a:cubicBezTo>
                <a:lnTo>
                  <a:pt x="756735" y="30975"/>
                </a:lnTo>
                <a:lnTo>
                  <a:pt x="756735" y="61504"/>
                </a:lnTo>
                <a:cubicBezTo>
                  <a:pt x="756735" y="65336"/>
                  <a:pt x="757284" y="68257"/>
                  <a:pt x="758381" y="70266"/>
                </a:cubicBezTo>
                <a:cubicBezTo>
                  <a:pt x="759479" y="72275"/>
                  <a:pt x="761479" y="73280"/>
                  <a:pt x="764381" y="73280"/>
                </a:cubicBezTo>
                <a:cubicBezTo>
                  <a:pt x="765274" y="73280"/>
                  <a:pt x="766083" y="73187"/>
                  <a:pt x="766809" y="73001"/>
                </a:cubicBezTo>
                <a:cubicBezTo>
                  <a:pt x="767534" y="72815"/>
                  <a:pt x="768176" y="72610"/>
                  <a:pt x="768734" y="72387"/>
                </a:cubicBezTo>
                <a:cubicBezTo>
                  <a:pt x="769292" y="72164"/>
                  <a:pt x="769767" y="71959"/>
                  <a:pt x="770157" y="71773"/>
                </a:cubicBezTo>
                <a:cubicBezTo>
                  <a:pt x="770548" y="71587"/>
                  <a:pt x="770892" y="71494"/>
                  <a:pt x="771190" y="71494"/>
                </a:cubicBezTo>
                <a:cubicBezTo>
                  <a:pt x="771376" y="71494"/>
                  <a:pt x="771543" y="71531"/>
                  <a:pt x="771692" y="71605"/>
                </a:cubicBezTo>
                <a:cubicBezTo>
                  <a:pt x="771841" y="71680"/>
                  <a:pt x="771962" y="71819"/>
                  <a:pt x="772055" y="72024"/>
                </a:cubicBezTo>
                <a:cubicBezTo>
                  <a:pt x="772148" y="72229"/>
                  <a:pt x="772222" y="72489"/>
                  <a:pt x="772278" y="72805"/>
                </a:cubicBezTo>
                <a:cubicBezTo>
                  <a:pt x="772334" y="73122"/>
                  <a:pt x="772362" y="73522"/>
                  <a:pt x="772362" y="74005"/>
                </a:cubicBezTo>
                <a:cubicBezTo>
                  <a:pt x="772362" y="74787"/>
                  <a:pt x="772297" y="75419"/>
                  <a:pt x="772166" y="75903"/>
                </a:cubicBezTo>
                <a:cubicBezTo>
                  <a:pt x="772036" y="76387"/>
                  <a:pt x="771832" y="76768"/>
                  <a:pt x="771553" y="77047"/>
                </a:cubicBezTo>
                <a:cubicBezTo>
                  <a:pt x="771273" y="77326"/>
                  <a:pt x="770864" y="77586"/>
                  <a:pt x="770325" y="77828"/>
                </a:cubicBezTo>
                <a:cubicBezTo>
                  <a:pt x="769785" y="78070"/>
                  <a:pt x="769162" y="78275"/>
                  <a:pt x="768455" y="78442"/>
                </a:cubicBezTo>
                <a:cubicBezTo>
                  <a:pt x="767748" y="78610"/>
                  <a:pt x="767004" y="78740"/>
                  <a:pt x="766223" y="78833"/>
                </a:cubicBezTo>
                <a:cubicBezTo>
                  <a:pt x="765441" y="78926"/>
                  <a:pt x="764679" y="78972"/>
                  <a:pt x="763934" y="78972"/>
                </a:cubicBezTo>
                <a:cubicBezTo>
                  <a:pt x="761441" y="78972"/>
                  <a:pt x="759321" y="78638"/>
                  <a:pt x="757572" y="77968"/>
                </a:cubicBezTo>
                <a:cubicBezTo>
                  <a:pt x="755823" y="77298"/>
                  <a:pt x="754391" y="76284"/>
                  <a:pt x="753275" y="74926"/>
                </a:cubicBezTo>
                <a:cubicBezTo>
                  <a:pt x="752158" y="73568"/>
                  <a:pt x="751349" y="71847"/>
                  <a:pt x="750847" y="69764"/>
                </a:cubicBezTo>
                <a:cubicBezTo>
                  <a:pt x="750345" y="67680"/>
                  <a:pt x="750093" y="65224"/>
                  <a:pt x="750093" y="62397"/>
                </a:cubicBezTo>
                <a:lnTo>
                  <a:pt x="750093" y="30975"/>
                </a:lnTo>
                <a:lnTo>
                  <a:pt x="742559" y="30975"/>
                </a:lnTo>
                <a:cubicBezTo>
                  <a:pt x="742038" y="30975"/>
                  <a:pt x="741629" y="30743"/>
                  <a:pt x="741331" y="30278"/>
                </a:cubicBezTo>
                <a:cubicBezTo>
                  <a:pt x="741033" y="29813"/>
                  <a:pt x="740885" y="29115"/>
                  <a:pt x="740885" y="28185"/>
                </a:cubicBezTo>
                <a:cubicBezTo>
                  <a:pt x="740885" y="27701"/>
                  <a:pt x="740922" y="27283"/>
                  <a:pt x="740996" y="26929"/>
                </a:cubicBezTo>
                <a:cubicBezTo>
                  <a:pt x="741071" y="26576"/>
                  <a:pt x="741182" y="26278"/>
                  <a:pt x="741331" y="26036"/>
                </a:cubicBezTo>
                <a:cubicBezTo>
                  <a:pt x="741480" y="25794"/>
                  <a:pt x="741657" y="25618"/>
                  <a:pt x="741861" y="25506"/>
                </a:cubicBezTo>
                <a:cubicBezTo>
                  <a:pt x="742066" y="25394"/>
                  <a:pt x="742298" y="25338"/>
                  <a:pt x="742559" y="25338"/>
                </a:cubicBezTo>
                <a:lnTo>
                  <a:pt x="750093" y="25338"/>
                </a:lnTo>
                <a:lnTo>
                  <a:pt x="750093" y="12949"/>
                </a:lnTo>
                <a:cubicBezTo>
                  <a:pt x="750093" y="12725"/>
                  <a:pt x="750140" y="12521"/>
                  <a:pt x="750233" y="12335"/>
                </a:cubicBezTo>
                <a:cubicBezTo>
                  <a:pt x="750326" y="12149"/>
                  <a:pt x="750503" y="11990"/>
                  <a:pt x="750763" y="11860"/>
                </a:cubicBezTo>
                <a:cubicBezTo>
                  <a:pt x="751023" y="11730"/>
                  <a:pt x="751368" y="11637"/>
                  <a:pt x="751796" y="11581"/>
                </a:cubicBezTo>
                <a:cubicBezTo>
                  <a:pt x="752223" y="11525"/>
                  <a:pt x="752754" y="11497"/>
                  <a:pt x="753386" y="11497"/>
                </a:cubicBezTo>
                <a:close/>
                <a:moveTo>
                  <a:pt x="210461" y="11497"/>
                </a:moveTo>
                <a:cubicBezTo>
                  <a:pt x="211131" y="11497"/>
                  <a:pt x="211680" y="11525"/>
                  <a:pt x="212108" y="11581"/>
                </a:cubicBezTo>
                <a:cubicBezTo>
                  <a:pt x="212536" y="11637"/>
                  <a:pt x="212871" y="11730"/>
                  <a:pt x="213112" y="11860"/>
                </a:cubicBezTo>
                <a:cubicBezTo>
                  <a:pt x="213354" y="11990"/>
                  <a:pt x="213531" y="12149"/>
                  <a:pt x="213643" y="12335"/>
                </a:cubicBezTo>
                <a:cubicBezTo>
                  <a:pt x="213754" y="12521"/>
                  <a:pt x="213810" y="12725"/>
                  <a:pt x="213810" y="12949"/>
                </a:cubicBezTo>
                <a:lnTo>
                  <a:pt x="213810" y="25338"/>
                </a:lnTo>
                <a:lnTo>
                  <a:pt x="227763" y="25338"/>
                </a:lnTo>
                <a:cubicBezTo>
                  <a:pt x="228023" y="25338"/>
                  <a:pt x="228256" y="25394"/>
                  <a:pt x="228460" y="25506"/>
                </a:cubicBezTo>
                <a:cubicBezTo>
                  <a:pt x="228665" y="25618"/>
                  <a:pt x="228842" y="25794"/>
                  <a:pt x="228991" y="26036"/>
                </a:cubicBezTo>
                <a:cubicBezTo>
                  <a:pt x="229139" y="26278"/>
                  <a:pt x="229251" y="26576"/>
                  <a:pt x="229325" y="26929"/>
                </a:cubicBezTo>
                <a:cubicBezTo>
                  <a:pt x="229400" y="27283"/>
                  <a:pt x="229437" y="27701"/>
                  <a:pt x="229437" y="28185"/>
                </a:cubicBezTo>
                <a:cubicBezTo>
                  <a:pt x="229437" y="29115"/>
                  <a:pt x="229279" y="29813"/>
                  <a:pt x="228963" y="30278"/>
                </a:cubicBezTo>
                <a:cubicBezTo>
                  <a:pt x="228646" y="30743"/>
                  <a:pt x="228246" y="30975"/>
                  <a:pt x="227763" y="30975"/>
                </a:cubicBezTo>
                <a:lnTo>
                  <a:pt x="213810" y="30975"/>
                </a:lnTo>
                <a:lnTo>
                  <a:pt x="213810" y="61504"/>
                </a:lnTo>
                <a:cubicBezTo>
                  <a:pt x="213810" y="65336"/>
                  <a:pt x="214359" y="68257"/>
                  <a:pt x="215456" y="70266"/>
                </a:cubicBezTo>
                <a:cubicBezTo>
                  <a:pt x="216554" y="72275"/>
                  <a:pt x="218554" y="73280"/>
                  <a:pt x="221456" y="73280"/>
                </a:cubicBezTo>
                <a:cubicBezTo>
                  <a:pt x="222349" y="73280"/>
                  <a:pt x="223158" y="73187"/>
                  <a:pt x="223884" y="73001"/>
                </a:cubicBezTo>
                <a:cubicBezTo>
                  <a:pt x="224609" y="72815"/>
                  <a:pt x="225251" y="72610"/>
                  <a:pt x="225809" y="72387"/>
                </a:cubicBezTo>
                <a:cubicBezTo>
                  <a:pt x="226367" y="72164"/>
                  <a:pt x="226842" y="71959"/>
                  <a:pt x="227232" y="71773"/>
                </a:cubicBezTo>
                <a:cubicBezTo>
                  <a:pt x="227623" y="71587"/>
                  <a:pt x="227967" y="71494"/>
                  <a:pt x="228265" y="71494"/>
                </a:cubicBezTo>
                <a:cubicBezTo>
                  <a:pt x="228451" y="71494"/>
                  <a:pt x="228618" y="71531"/>
                  <a:pt x="228767" y="71605"/>
                </a:cubicBezTo>
                <a:cubicBezTo>
                  <a:pt x="228916" y="71680"/>
                  <a:pt x="229037" y="71819"/>
                  <a:pt x="229130" y="72024"/>
                </a:cubicBezTo>
                <a:cubicBezTo>
                  <a:pt x="229223" y="72229"/>
                  <a:pt x="229297" y="72489"/>
                  <a:pt x="229353" y="72805"/>
                </a:cubicBezTo>
                <a:cubicBezTo>
                  <a:pt x="229409" y="73122"/>
                  <a:pt x="229437" y="73522"/>
                  <a:pt x="229437" y="74005"/>
                </a:cubicBezTo>
                <a:cubicBezTo>
                  <a:pt x="229437" y="74787"/>
                  <a:pt x="229372" y="75419"/>
                  <a:pt x="229242" y="75903"/>
                </a:cubicBezTo>
                <a:cubicBezTo>
                  <a:pt x="229111" y="76387"/>
                  <a:pt x="228907" y="76768"/>
                  <a:pt x="228628" y="77047"/>
                </a:cubicBezTo>
                <a:cubicBezTo>
                  <a:pt x="228349" y="77326"/>
                  <a:pt x="227939" y="77586"/>
                  <a:pt x="227400" y="77828"/>
                </a:cubicBezTo>
                <a:cubicBezTo>
                  <a:pt x="226860" y="78070"/>
                  <a:pt x="226237" y="78275"/>
                  <a:pt x="225530" y="78442"/>
                </a:cubicBezTo>
                <a:cubicBezTo>
                  <a:pt x="224823" y="78610"/>
                  <a:pt x="224079" y="78740"/>
                  <a:pt x="223298" y="78833"/>
                </a:cubicBezTo>
                <a:cubicBezTo>
                  <a:pt x="222516" y="78926"/>
                  <a:pt x="221754" y="78972"/>
                  <a:pt x="221010" y="78972"/>
                </a:cubicBezTo>
                <a:cubicBezTo>
                  <a:pt x="218517" y="78972"/>
                  <a:pt x="216396" y="78638"/>
                  <a:pt x="214647" y="77968"/>
                </a:cubicBezTo>
                <a:cubicBezTo>
                  <a:pt x="212898" y="77298"/>
                  <a:pt x="211466" y="76284"/>
                  <a:pt x="210350" y="74926"/>
                </a:cubicBezTo>
                <a:cubicBezTo>
                  <a:pt x="209234" y="73568"/>
                  <a:pt x="208424" y="71847"/>
                  <a:pt x="207922" y="69764"/>
                </a:cubicBezTo>
                <a:cubicBezTo>
                  <a:pt x="207420" y="67680"/>
                  <a:pt x="207169" y="65224"/>
                  <a:pt x="207169" y="62397"/>
                </a:cubicBezTo>
                <a:lnTo>
                  <a:pt x="207169" y="30975"/>
                </a:lnTo>
                <a:lnTo>
                  <a:pt x="199634" y="30975"/>
                </a:lnTo>
                <a:cubicBezTo>
                  <a:pt x="199113" y="30975"/>
                  <a:pt x="198704" y="30743"/>
                  <a:pt x="198406" y="30278"/>
                </a:cubicBezTo>
                <a:cubicBezTo>
                  <a:pt x="198109" y="29813"/>
                  <a:pt x="197960" y="29115"/>
                  <a:pt x="197960" y="28185"/>
                </a:cubicBezTo>
                <a:cubicBezTo>
                  <a:pt x="197960" y="27701"/>
                  <a:pt x="197997" y="27283"/>
                  <a:pt x="198071" y="26929"/>
                </a:cubicBezTo>
                <a:cubicBezTo>
                  <a:pt x="198146" y="26576"/>
                  <a:pt x="198258" y="26278"/>
                  <a:pt x="198406" y="26036"/>
                </a:cubicBezTo>
                <a:cubicBezTo>
                  <a:pt x="198555" y="25794"/>
                  <a:pt x="198732" y="25618"/>
                  <a:pt x="198937" y="25506"/>
                </a:cubicBezTo>
                <a:cubicBezTo>
                  <a:pt x="199141" y="25394"/>
                  <a:pt x="199374" y="25338"/>
                  <a:pt x="199634" y="25338"/>
                </a:cubicBezTo>
                <a:lnTo>
                  <a:pt x="207169" y="25338"/>
                </a:lnTo>
                <a:lnTo>
                  <a:pt x="207169" y="12949"/>
                </a:lnTo>
                <a:cubicBezTo>
                  <a:pt x="207169" y="12725"/>
                  <a:pt x="207215" y="12521"/>
                  <a:pt x="207308" y="12335"/>
                </a:cubicBezTo>
                <a:cubicBezTo>
                  <a:pt x="207401" y="12149"/>
                  <a:pt x="207578" y="11990"/>
                  <a:pt x="207838" y="11860"/>
                </a:cubicBezTo>
                <a:cubicBezTo>
                  <a:pt x="208099" y="11730"/>
                  <a:pt x="208443" y="11637"/>
                  <a:pt x="208871" y="11581"/>
                </a:cubicBezTo>
                <a:cubicBezTo>
                  <a:pt x="209299" y="11525"/>
                  <a:pt x="209829" y="11497"/>
                  <a:pt x="210461" y="11497"/>
                </a:cubicBezTo>
                <a:close/>
                <a:moveTo>
                  <a:pt x="58061" y="11497"/>
                </a:moveTo>
                <a:cubicBezTo>
                  <a:pt x="58731" y="11497"/>
                  <a:pt x="59280" y="11525"/>
                  <a:pt x="59708" y="11581"/>
                </a:cubicBezTo>
                <a:cubicBezTo>
                  <a:pt x="60136" y="11637"/>
                  <a:pt x="60471" y="11730"/>
                  <a:pt x="60712" y="11860"/>
                </a:cubicBezTo>
                <a:cubicBezTo>
                  <a:pt x="60954" y="11990"/>
                  <a:pt x="61131" y="12149"/>
                  <a:pt x="61243" y="12335"/>
                </a:cubicBezTo>
                <a:cubicBezTo>
                  <a:pt x="61354" y="12521"/>
                  <a:pt x="61410" y="12725"/>
                  <a:pt x="61410" y="12949"/>
                </a:cubicBezTo>
                <a:lnTo>
                  <a:pt x="61410" y="25338"/>
                </a:lnTo>
                <a:lnTo>
                  <a:pt x="75363" y="25338"/>
                </a:lnTo>
                <a:cubicBezTo>
                  <a:pt x="75623" y="25338"/>
                  <a:pt x="75856" y="25394"/>
                  <a:pt x="76060" y="25506"/>
                </a:cubicBezTo>
                <a:cubicBezTo>
                  <a:pt x="76265" y="25618"/>
                  <a:pt x="76442" y="25794"/>
                  <a:pt x="76591" y="26036"/>
                </a:cubicBezTo>
                <a:cubicBezTo>
                  <a:pt x="76739" y="26278"/>
                  <a:pt x="76851" y="26576"/>
                  <a:pt x="76925" y="26929"/>
                </a:cubicBezTo>
                <a:cubicBezTo>
                  <a:pt x="77000" y="27283"/>
                  <a:pt x="77037" y="27701"/>
                  <a:pt x="77037" y="28185"/>
                </a:cubicBezTo>
                <a:cubicBezTo>
                  <a:pt x="77037" y="29115"/>
                  <a:pt x="76879" y="29813"/>
                  <a:pt x="76563" y="30278"/>
                </a:cubicBezTo>
                <a:cubicBezTo>
                  <a:pt x="76246" y="30743"/>
                  <a:pt x="75846" y="30975"/>
                  <a:pt x="75363" y="30975"/>
                </a:cubicBezTo>
                <a:lnTo>
                  <a:pt x="61410" y="30975"/>
                </a:lnTo>
                <a:lnTo>
                  <a:pt x="61410" y="61504"/>
                </a:lnTo>
                <a:cubicBezTo>
                  <a:pt x="61410" y="65336"/>
                  <a:pt x="61959" y="68257"/>
                  <a:pt x="63056" y="70266"/>
                </a:cubicBezTo>
                <a:cubicBezTo>
                  <a:pt x="64154" y="72275"/>
                  <a:pt x="66154" y="73280"/>
                  <a:pt x="69056" y="73280"/>
                </a:cubicBezTo>
                <a:cubicBezTo>
                  <a:pt x="69949" y="73280"/>
                  <a:pt x="70758" y="73187"/>
                  <a:pt x="71484" y="73001"/>
                </a:cubicBezTo>
                <a:cubicBezTo>
                  <a:pt x="72209" y="72815"/>
                  <a:pt x="72851" y="72610"/>
                  <a:pt x="73409" y="72387"/>
                </a:cubicBezTo>
                <a:cubicBezTo>
                  <a:pt x="73967" y="72164"/>
                  <a:pt x="74442" y="71959"/>
                  <a:pt x="74833" y="71773"/>
                </a:cubicBezTo>
                <a:cubicBezTo>
                  <a:pt x="75223" y="71587"/>
                  <a:pt x="75567" y="71494"/>
                  <a:pt x="75865" y="71494"/>
                </a:cubicBezTo>
                <a:cubicBezTo>
                  <a:pt x="76051" y="71494"/>
                  <a:pt x="76218" y="71531"/>
                  <a:pt x="76367" y="71605"/>
                </a:cubicBezTo>
                <a:cubicBezTo>
                  <a:pt x="76516" y="71680"/>
                  <a:pt x="76637" y="71819"/>
                  <a:pt x="76730" y="72024"/>
                </a:cubicBezTo>
                <a:cubicBezTo>
                  <a:pt x="76823" y="72229"/>
                  <a:pt x="76897" y="72489"/>
                  <a:pt x="76953" y="72805"/>
                </a:cubicBezTo>
                <a:cubicBezTo>
                  <a:pt x="77009" y="73122"/>
                  <a:pt x="77037" y="73522"/>
                  <a:pt x="77037" y="74005"/>
                </a:cubicBezTo>
                <a:cubicBezTo>
                  <a:pt x="77037" y="74787"/>
                  <a:pt x="76972" y="75419"/>
                  <a:pt x="76842" y="75903"/>
                </a:cubicBezTo>
                <a:cubicBezTo>
                  <a:pt x="76711" y="76387"/>
                  <a:pt x="76507" y="76768"/>
                  <a:pt x="76228" y="77047"/>
                </a:cubicBezTo>
                <a:cubicBezTo>
                  <a:pt x="75949" y="77326"/>
                  <a:pt x="75539" y="77586"/>
                  <a:pt x="75000" y="77828"/>
                </a:cubicBezTo>
                <a:cubicBezTo>
                  <a:pt x="74460" y="78070"/>
                  <a:pt x="73837" y="78275"/>
                  <a:pt x="73130" y="78442"/>
                </a:cubicBezTo>
                <a:cubicBezTo>
                  <a:pt x="72423" y="78610"/>
                  <a:pt x="71679" y="78740"/>
                  <a:pt x="70898" y="78833"/>
                </a:cubicBezTo>
                <a:cubicBezTo>
                  <a:pt x="70117" y="78926"/>
                  <a:pt x="69354" y="78972"/>
                  <a:pt x="68610" y="78972"/>
                </a:cubicBezTo>
                <a:cubicBezTo>
                  <a:pt x="66117" y="78972"/>
                  <a:pt x="63996" y="78638"/>
                  <a:pt x="62247" y="77968"/>
                </a:cubicBezTo>
                <a:cubicBezTo>
                  <a:pt x="60498" y="77298"/>
                  <a:pt x="59066" y="76284"/>
                  <a:pt x="57950" y="74926"/>
                </a:cubicBezTo>
                <a:cubicBezTo>
                  <a:pt x="56834" y="73568"/>
                  <a:pt x="56024" y="71847"/>
                  <a:pt x="55522" y="69764"/>
                </a:cubicBezTo>
                <a:cubicBezTo>
                  <a:pt x="55020" y="67680"/>
                  <a:pt x="54769" y="65224"/>
                  <a:pt x="54769" y="62397"/>
                </a:cubicBezTo>
                <a:lnTo>
                  <a:pt x="54769" y="30975"/>
                </a:lnTo>
                <a:lnTo>
                  <a:pt x="47234" y="30975"/>
                </a:lnTo>
                <a:cubicBezTo>
                  <a:pt x="46713" y="30975"/>
                  <a:pt x="46304" y="30743"/>
                  <a:pt x="46006" y="30278"/>
                </a:cubicBezTo>
                <a:cubicBezTo>
                  <a:pt x="45709" y="29813"/>
                  <a:pt x="45560" y="29115"/>
                  <a:pt x="45560" y="28185"/>
                </a:cubicBezTo>
                <a:cubicBezTo>
                  <a:pt x="45560" y="27701"/>
                  <a:pt x="45597" y="27283"/>
                  <a:pt x="45671" y="26929"/>
                </a:cubicBezTo>
                <a:cubicBezTo>
                  <a:pt x="45746" y="26576"/>
                  <a:pt x="45858" y="26278"/>
                  <a:pt x="46006" y="26036"/>
                </a:cubicBezTo>
                <a:cubicBezTo>
                  <a:pt x="46155" y="25794"/>
                  <a:pt x="46332" y="25618"/>
                  <a:pt x="46537" y="25506"/>
                </a:cubicBezTo>
                <a:cubicBezTo>
                  <a:pt x="46741" y="25394"/>
                  <a:pt x="46974" y="25338"/>
                  <a:pt x="47234" y="25338"/>
                </a:cubicBezTo>
                <a:lnTo>
                  <a:pt x="54769" y="25338"/>
                </a:lnTo>
                <a:lnTo>
                  <a:pt x="54769" y="12949"/>
                </a:lnTo>
                <a:cubicBezTo>
                  <a:pt x="54769" y="12725"/>
                  <a:pt x="54815" y="12521"/>
                  <a:pt x="54908" y="12335"/>
                </a:cubicBezTo>
                <a:cubicBezTo>
                  <a:pt x="55001" y="12149"/>
                  <a:pt x="55178" y="11990"/>
                  <a:pt x="55438" y="11860"/>
                </a:cubicBezTo>
                <a:cubicBezTo>
                  <a:pt x="55699" y="11730"/>
                  <a:pt x="56043" y="11637"/>
                  <a:pt x="56471" y="11581"/>
                </a:cubicBezTo>
                <a:cubicBezTo>
                  <a:pt x="56899" y="11525"/>
                  <a:pt x="57429" y="11497"/>
                  <a:pt x="58061" y="11497"/>
                </a:cubicBezTo>
                <a:close/>
                <a:moveTo>
                  <a:pt x="789477" y="4968"/>
                </a:moveTo>
                <a:cubicBezTo>
                  <a:pt x="791114" y="4968"/>
                  <a:pt x="792240" y="5275"/>
                  <a:pt x="792853" y="5888"/>
                </a:cubicBezTo>
                <a:cubicBezTo>
                  <a:pt x="793467" y="6502"/>
                  <a:pt x="793774" y="7702"/>
                  <a:pt x="793774" y="9488"/>
                </a:cubicBezTo>
                <a:cubicBezTo>
                  <a:pt x="793774" y="11274"/>
                  <a:pt x="793458" y="12483"/>
                  <a:pt x="792826" y="13116"/>
                </a:cubicBezTo>
                <a:cubicBezTo>
                  <a:pt x="792193" y="13748"/>
                  <a:pt x="791040" y="14065"/>
                  <a:pt x="789365" y="14065"/>
                </a:cubicBezTo>
                <a:cubicBezTo>
                  <a:pt x="787728" y="14065"/>
                  <a:pt x="786603" y="13758"/>
                  <a:pt x="785989" y="13144"/>
                </a:cubicBezTo>
                <a:cubicBezTo>
                  <a:pt x="785375" y="12530"/>
                  <a:pt x="785068" y="11330"/>
                  <a:pt x="785068" y="9544"/>
                </a:cubicBezTo>
                <a:cubicBezTo>
                  <a:pt x="785068" y="7758"/>
                  <a:pt x="785384" y="6549"/>
                  <a:pt x="786017" y="5916"/>
                </a:cubicBezTo>
                <a:cubicBezTo>
                  <a:pt x="786649" y="5284"/>
                  <a:pt x="787803" y="4968"/>
                  <a:pt x="789477" y="4968"/>
                </a:cubicBezTo>
                <a:close/>
                <a:moveTo>
                  <a:pt x="551352" y="4968"/>
                </a:moveTo>
                <a:cubicBezTo>
                  <a:pt x="552989" y="4968"/>
                  <a:pt x="554115" y="5275"/>
                  <a:pt x="554729" y="5888"/>
                </a:cubicBezTo>
                <a:cubicBezTo>
                  <a:pt x="555342" y="6502"/>
                  <a:pt x="555649" y="7702"/>
                  <a:pt x="555649" y="9488"/>
                </a:cubicBezTo>
                <a:cubicBezTo>
                  <a:pt x="555649" y="11274"/>
                  <a:pt x="555333" y="12483"/>
                  <a:pt x="554701" y="13116"/>
                </a:cubicBezTo>
                <a:cubicBezTo>
                  <a:pt x="554068" y="13748"/>
                  <a:pt x="552915" y="14065"/>
                  <a:pt x="551240" y="14065"/>
                </a:cubicBezTo>
                <a:cubicBezTo>
                  <a:pt x="549603" y="14065"/>
                  <a:pt x="548478" y="13758"/>
                  <a:pt x="547864" y="13144"/>
                </a:cubicBezTo>
                <a:cubicBezTo>
                  <a:pt x="547250" y="12530"/>
                  <a:pt x="546943" y="11330"/>
                  <a:pt x="546943" y="9544"/>
                </a:cubicBezTo>
                <a:cubicBezTo>
                  <a:pt x="546943" y="7758"/>
                  <a:pt x="547259" y="6549"/>
                  <a:pt x="547892" y="5916"/>
                </a:cubicBezTo>
                <a:cubicBezTo>
                  <a:pt x="548524" y="5284"/>
                  <a:pt x="549678" y="4968"/>
                  <a:pt x="551352" y="4968"/>
                </a:cubicBezTo>
                <a:close/>
                <a:moveTo>
                  <a:pt x="132252" y="4968"/>
                </a:moveTo>
                <a:cubicBezTo>
                  <a:pt x="133889" y="4968"/>
                  <a:pt x="135015" y="5275"/>
                  <a:pt x="135629" y="5888"/>
                </a:cubicBezTo>
                <a:cubicBezTo>
                  <a:pt x="136243" y="6502"/>
                  <a:pt x="136550" y="7702"/>
                  <a:pt x="136550" y="9488"/>
                </a:cubicBezTo>
                <a:cubicBezTo>
                  <a:pt x="136550" y="11274"/>
                  <a:pt x="136233" y="12483"/>
                  <a:pt x="135601" y="13116"/>
                </a:cubicBezTo>
                <a:cubicBezTo>
                  <a:pt x="134968" y="13748"/>
                  <a:pt x="133815" y="14065"/>
                  <a:pt x="132141" y="14065"/>
                </a:cubicBezTo>
                <a:cubicBezTo>
                  <a:pt x="130504" y="14065"/>
                  <a:pt x="129378" y="13758"/>
                  <a:pt x="128764" y="13144"/>
                </a:cubicBezTo>
                <a:cubicBezTo>
                  <a:pt x="128150" y="12530"/>
                  <a:pt x="127843" y="11330"/>
                  <a:pt x="127843" y="9544"/>
                </a:cubicBezTo>
                <a:cubicBezTo>
                  <a:pt x="127843" y="7758"/>
                  <a:pt x="128159" y="6549"/>
                  <a:pt x="128792" y="5916"/>
                </a:cubicBezTo>
                <a:cubicBezTo>
                  <a:pt x="129425" y="5284"/>
                  <a:pt x="130578" y="4968"/>
                  <a:pt x="132252" y="4968"/>
                </a:cubicBezTo>
                <a:close/>
                <a:moveTo>
                  <a:pt x="22771" y="4968"/>
                </a:moveTo>
                <a:cubicBezTo>
                  <a:pt x="24296" y="4968"/>
                  <a:pt x="25840" y="5116"/>
                  <a:pt x="27403" y="5414"/>
                </a:cubicBezTo>
                <a:cubicBezTo>
                  <a:pt x="28966" y="5712"/>
                  <a:pt x="30445" y="6093"/>
                  <a:pt x="31840" y="6558"/>
                </a:cubicBezTo>
                <a:cubicBezTo>
                  <a:pt x="33235" y="7023"/>
                  <a:pt x="34481" y="7544"/>
                  <a:pt x="35579" y="8121"/>
                </a:cubicBezTo>
                <a:cubicBezTo>
                  <a:pt x="36677" y="8698"/>
                  <a:pt x="37402" y="9163"/>
                  <a:pt x="37756" y="9516"/>
                </a:cubicBezTo>
                <a:cubicBezTo>
                  <a:pt x="38109" y="9870"/>
                  <a:pt x="38332" y="10130"/>
                  <a:pt x="38425" y="10298"/>
                </a:cubicBezTo>
                <a:cubicBezTo>
                  <a:pt x="38518" y="10465"/>
                  <a:pt x="38602" y="10679"/>
                  <a:pt x="38677" y="10939"/>
                </a:cubicBezTo>
                <a:cubicBezTo>
                  <a:pt x="38751" y="11200"/>
                  <a:pt x="38807" y="11507"/>
                  <a:pt x="38844" y="11860"/>
                </a:cubicBezTo>
                <a:cubicBezTo>
                  <a:pt x="38881" y="12214"/>
                  <a:pt x="38900" y="12651"/>
                  <a:pt x="38900" y="13172"/>
                </a:cubicBezTo>
                <a:cubicBezTo>
                  <a:pt x="38900" y="13655"/>
                  <a:pt x="38872" y="14093"/>
                  <a:pt x="38816" y="14483"/>
                </a:cubicBezTo>
                <a:cubicBezTo>
                  <a:pt x="38760" y="14874"/>
                  <a:pt x="38677" y="15209"/>
                  <a:pt x="38565" y="15488"/>
                </a:cubicBezTo>
                <a:cubicBezTo>
                  <a:pt x="38453" y="15767"/>
                  <a:pt x="38314" y="15981"/>
                  <a:pt x="38146" y="16130"/>
                </a:cubicBezTo>
                <a:cubicBezTo>
                  <a:pt x="37979" y="16279"/>
                  <a:pt x="37784" y="16353"/>
                  <a:pt x="37560" y="16353"/>
                </a:cubicBezTo>
                <a:cubicBezTo>
                  <a:pt x="37151" y="16353"/>
                  <a:pt x="36528" y="16083"/>
                  <a:pt x="35691" y="15544"/>
                </a:cubicBezTo>
                <a:cubicBezTo>
                  <a:pt x="34854" y="15004"/>
                  <a:pt x="33802" y="14400"/>
                  <a:pt x="32537" y="13730"/>
                </a:cubicBezTo>
                <a:cubicBezTo>
                  <a:pt x="31272" y="13060"/>
                  <a:pt x="29765" y="12456"/>
                  <a:pt x="28017" y="11916"/>
                </a:cubicBezTo>
                <a:cubicBezTo>
                  <a:pt x="26268" y="11377"/>
                  <a:pt x="24277" y="11107"/>
                  <a:pt x="22045" y="11107"/>
                </a:cubicBezTo>
                <a:cubicBezTo>
                  <a:pt x="19850" y="11107"/>
                  <a:pt x="17934" y="11404"/>
                  <a:pt x="16297" y="12000"/>
                </a:cubicBezTo>
                <a:cubicBezTo>
                  <a:pt x="14659" y="12595"/>
                  <a:pt x="13301" y="13404"/>
                  <a:pt x="12222" y="14428"/>
                </a:cubicBezTo>
                <a:cubicBezTo>
                  <a:pt x="11143" y="15451"/>
                  <a:pt x="10334" y="16651"/>
                  <a:pt x="9795" y="18027"/>
                </a:cubicBezTo>
                <a:cubicBezTo>
                  <a:pt x="9255" y="19404"/>
                  <a:pt x="8985" y="20855"/>
                  <a:pt x="8985" y="22381"/>
                </a:cubicBezTo>
                <a:cubicBezTo>
                  <a:pt x="8985" y="24613"/>
                  <a:pt x="9469" y="26529"/>
                  <a:pt x="10436" y="28129"/>
                </a:cubicBezTo>
                <a:cubicBezTo>
                  <a:pt x="11404" y="29729"/>
                  <a:pt x="12687" y="31143"/>
                  <a:pt x="14287" y="32371"/>
                </a:cubicBezTo>
                <a:cubicBezTo>
                  <a:pt x="15887" y="33598"/>
                  <a:pt x="17701" y="34705"/>
                  <a:pt x="19729" y="35691"/>
                </a:cubicBezTo>
                <a:cubicBezTo>
                  <a:pt x="21757" y="36677"/>
                  <a:pt x="23822" y="37663"/>
                  <a:pt x="25924" y="38649"/>
                </a:cubicBezTo>
                <a:cubicBezTo>
                  <a:pt x="28026" y="39635"/>
                  <a:pt x="30091" y="40696"/>
                  <a:pt x="32119" y="41830"/>
                </a:cubicBezTo>
                <a:cubicBezTo>
                  <a:pt x="34147" y="42965"/>
                  <a:pt x="35960" y="44305"/>
                  <a:pt x="37560" y="45849"/>
                </a:cubicBezTo>
                <a:cubicBezTo>
                  <a:pt x="39160" y="47393"/>
                  <a:pt x="40444" y="49197"/>
                  <a:pt x="41411" y="51262"/>
                </a:cubicBezTo>
                <a:cubicBezTo>
                  <a:pt x="42379" y="53327"/>
                  <a:pt x="42862" y="55774"/>
                  <a:pt x="42862" y="58602"/>
                </a:cubicBezTo>
                <a:cubicBezTo>
                  <a:pt x="42862" y="61801"/>
                  <a:pt x="42286" y="64666"/>
                  <a:pt x="41132" y="67196"/>
                </a:cubicBezTo>
                <a:cubicBezTo>
                  <a:pt x="39979" y="69726"/>
                  <a:pt x="38360" y="71875"/>
                  <a:pt x="36277" y="73642"/>
                </a:cubicBezTo>
                <a:cubicBezTo>
                  <a:pt x="34193" y="75410"/>
                  <a:pt x="31719" y="76759"/>
                  <a:pt x="28854" y="77689"/>
                </a:cubicBezTo>
                <a:cubicBezTo>
                  <a:pt x="25989" y="78619"/>
                  <a:pt x="22864" y="79084"/>
                  <a:pt x="19478" y="79084"/>
                </a:cubicBezTo>
                <a:cubicBezTo>
                  <a:pt x="17171" y="79084"/>
                  <a:pt x="14994" y="78870"/>
                  <a:pt x="12948" y="78442"/>
                </a:cubicBezTo>
                <a:cubicBezTo>
                  <a:pt x="10902" y="78014"/>
                  <a:pt x="9078" y="77503"/>
                  <a:pt x="7478" y="76907"/>
                </a:cubicBezTo>
                <a:cubicBezTo>
                  <a:pt x="5879" y="76312"/>
                  <a:pt x="4530" y="75707"/>
                  <a:pt x="3432" y="75094"/>
                </a:cubicBezTo>
                <a:cubicBezTo>
                  <a:pt x="2335" y="74480"/>
                  <a:pt x="1581" y="73959"/>
                  <a:pt x="1172" y="73531"/>
                </a:cubicBezTo>
                <a:cubicBezTo>
                  <a:pt x="763" y="73103"/>
                  <a:pt x="465" y="72601"/>
                  <a:pt x="279" y="72024"/>
                </a:cubicBezTo>
                <a:cubicBezTo>
                  <a:pt x="93" y="71447"/>
                  <a:pt x="0" y="70731"/>
                  <a:pt x="0" y="69875"/>
                </a:cubicBezTo>
                <a:cubicBezTo>
                  <a:pt x="0" y="69243"/>
                  <a:pt x="37" y="68722"/>
                  <a:pt x="111" y="68313"/>
                </a:cubicBezTo>
                <a:cubicBezTo>
                  <a:pt x="186" y="67903"/>
                  <a:pt x="288" y="67568"/>
                  <a:pt x="418" y="67308"/>
                </a:cubicBezTo>
                <a:cubicBezTo>
                  <a:pt x="549" y="67048"/>
                  <a:pt x="716" y="66871"/>
                  <a:pt x="921" y="66778"/>
                </a:cubicBezTo>
                <a:cubicBezTo>
                  <a:pt x="1125" y="66685"/>
                  <a:pt x="1339" y="66638"/>
                  <a:pt x="1563" y="66638"/>
                </a:cubicBezTo>
                <a:cubicBezTo>
                  <a:pt x="2083" y="66638"/>
                  <a:pt x="2818" y="66964"/>
                  <a:pt x="3767" y="67615"/>
                </a:cubicBezTo>
                <a:cubicBezTo>
                  <a:pt x="4716" y="68266"/>
                  <a:pt x="5944" y="68973"/>
                  <a:pt x="7451" y="69736"/>
                </a:cubicBezTo>
                <a:cubicBezTo>
                  <a:pt x="8957" y="70499"/>
                  <a:pt x="10762" y="71205"/>
                  <a:pt x="12864" y="71857"/>
                </a:cubicBezTo>
                <a:cubicBezTo>
                  <a:pt x="14966" y="72508"/>
                  <a:pt x="17413" y="72833"/>
                  <a:pt x="20203" y="72833"/>
                </a:cubicBezTo>
                <a:cubicBezTo>
                  <a:pt x="22473" y="72833"/>
                  <a:pt x="24557" y="72526"/>
                  <a:pt x="26454" y="71912"/>
                </a:cubicBezTo>
                <a:cubicBezTo>
                  <a:pt x="28352" y="71298"/>
                  <a:pt x="29989" y="70415"/>
                  <a:pt x="31365" y="69261"/>
                </a:cubicBezTo>
                <a:cubicBezTo>
                  <a:pt x="32742" y="68108"/>
                  <a:pt x="33812" y="66685"/>
                  <a:pt x="34574" y="64992"/>
                </a:cubicBezTo>
                <a:cubicBezTo>
                  <a:pt x="35337" y="63299"/>
                  <a:pt x="35719" y="61373"/>
                  <a:pt x="35719" y="59215"/>
                </a:cubicBezTo>
                <a:cubicBezTo>
                  <a:pt x="35719" y="56983"/>
                  <a:pt x="35235" y="55067"/>
                  <a:pt x="34268" y="53467"/>
                </a:cubicBezTo>
                <a:cubicBezTo>
                  <a:pt x="33300" y="51867"/>
                  <a:pt x="32026" y="50463"/>
                  <a:pt x="30445" y="49253"/>
                </a:cubicBezTo>
                <a:cubicBezTo>
                  <a:pt x="28863" y="48044"/>
                  <a:pt x="27068" y="46946"/>
                  <a:pt x="25059" y="45960"/>
                </a:cubicBezTo>
                <a:cubicBezTo>
                  <a:pt x="23050" y="44974"/>
                  <a:pt x="20994" y="43988"/>
                  <a:pt x="18892" y="43003"/>
                </a:cubicBezTo>
                <a:cubicBezTo>
                  <a:pt x="16790" y="42017"/>
                  <a:pt x="14734" y="40947"/>
                  <a:pt x="12725" y="39793"/>
                </a:cubicBezTo>
                <a:cubicBezTo>
                  <a:pt x="10715" y="38640"/>
                  <a:pt x="8920" y="37291"/>
                  <a:pt x="7339" y="35747"/>
                </a:cubicBezTo>
                <a:cubicBezTo>
                  <a:pt x="5758" y="34203"/>
                  <a:pt x="4483" y="32389"/>
                  <a:pt x="3516" y="30306"/>
                </a:cubicBezTo>
                <a:cubicBezTo>
                  <a:pt x="2549" y="28222"/>
                  <a:pt x="2065" y="25748"/>
                  <a:pt x="2065" y="22883"/>
                </a:cubicBezTo>
                <a:cubicBezTo>
                  <a:pt x="2065" y="20092"/>
                  <a:pt x="2567" y="17590"/>
                  <a:pt x="3572" y="15376"/>
                </a:cubicBezTo>
                <a:cubicBezTo>
                  <a:pt x="4576" y="13162"/>
                  <a:pt x="5990" y="11284"/>
                  <a:pt x="7813" y="9739"/>
                </a:cubicBezTo>
                <a:cubicBezTo>
                  <a:pt x="9636" y="8195"/>
                  <a:pt x="11822" y="7014"/>
                  <a:pt x="14371" y="6195"/>
                </a:cubicBezTo>
                <a:cubicBezTo>
                  <a:pt x="16920" y="5377"/>
                  <a:pt x="19720" y="4968"/>
                  <a:pt x="22771" y="4968"/>
                </a:cubicBezTo>
                <a:close/>
                <a:moveTo>
                  <a:pt x="613971" y="614"/>
                </a:moveTo>
                <a:cubicBezTo>
                  <a:pt x="614641" y="614"/>
                  <a:pt x="615190" y="651"/>
                  <a:pt x="615618" y="726"/>
                </a:cubicBezTo>
                <a:cubicBezTo>
                  <a:pt x="616046" y="800"/>
                  <a:pt x="616381" y="893"/>
                  <a:pt x="616622" y="1005"/>
                </a:cubicBezTo>
                <a:cubicBezTo>
                  <a:pt x="616864" y="1117"/>
                  <a:pt x="617041" y="1265"/>
                  <a:pt x="617153" y="1451"/>
                </a:cubicBezTo>
                <a:cubicBezTo>
                  <a:pt x="617264" y="1637"/>
                  <a:pt x="617320" y="1842"/>
                  <a:pt x="617320" y="2065"/>
                </a:cubicBezTo>
                <a:lnTo>
                  <a:pt x="617320" y="77019"/>
                </a:lnTo>
                <a:cubicBezTo>
                  <a:pt x="617320" y="77279"/>
                  <a:pt x="617274" y="77503"/>
                  <a:pt x="617181" y="77689"/>
                </a:cubicBezTo>
                <a:cubicBezTo>
                  <a:pt x="617087" y="77875"/>
                  <a:pt x="616920" y="78024"/>
                  <a:pt x="616678" y="78135"/>
                </a:cubicBezTo>
                <a:cubicBezTo>
                  <a:pt x="616436" y="78247"/>
                  <a:pt x="616129" y="78331"/>
                  <a:pt x="615757" y="78386"/>
                </a:cubicBezTo>
                <a:cubicBezTo>
                  <a:pt x="615385" y="78442"/>
                  <a:pt x="614920" y="78470"/>
                  <a:pt x="614362" y="78470"/>
                </a:cubicBezTo>
                <a:cubicBezTo>
                  <a:pt x="613767" y="78470"/>
                  <a:pt x="613274" y="78442"/>
                  <a:pt x="612883" y="78386"/>
                </a:cubicBezTo>
                <a:cubicBezTo>
                  <a:pt x="612492" y="78331"/>
                  <a:pt x="612176" y="78247"/>
                  <a:pt x="611934" y="78135"/>
                </a:cubicBezTo>
                <a:cubicBezTo>
                  <a:pt x="611693" y="78024"/>
                  <a:pt x="611506" y="77875"/>
                  <a:pt x="611376" y="77689"/>
                </a:cubicBezTo>
                <a:cubicBezTo>
                  <a:pt x="611246" y="77503"/>
                  <a:pt x="611181" y="77279"/>
                  <a:pt x="611181" y="77019"/>
                </a:cubicBezTo>
                <a:lnTo>
                  <a:pt x="611181" y="69764"/>
                </a:lnTo>
                <a:cubicBezTo>
                  <a:pt x="608502" y="72666"/>
                  <a:pt x="605730" y="74945"/>
                  <a:pt x="602865" y="76600"/>
                </a:cubicBezTo>
                <a:cubicBezTo>
                  <a:pt x="600000" y="78256"/>
                  <a:pt x="596875" y="79084"/>
                  <a:pt x="593489" y="79084"/>
                </a:cubicBezTo>
                <a:cubicBezTo>
                  <a:pt x="589843" y="79084"/>
                  <a:pt x="586736" y="78377"/>
                  <a:pt x="584169" y="76963"/>
                </a:cubicBezTo>
                <a:cubicBezTo>
                  <a:pt x="581601" y="75549"/>
                  <a:pt x="579508" y="73633"/>
                  <a:pt x="577890" y="71215"/>
                </a:cubicBezTo>
                <a:cubicBezTo>
                  <a:pt x="576271" y="68796"/>
                  <a:pt x="575090" y="65959"/>
                  <a:pt x="574346" y="62704"/>
                </a:cubicBezTo>
                <a:cubicBezTo>
                  <a:pt x="573602" y="59448"/>
                  <a:pt x="573230" y="55997"/>
                  <a:pt x="573230" y="52351"/>
                </a:cubicBezTo>
                <a:cubicBezTo>
                  <a:pt x="573230" y="48072"/>
                  <a:pt x="573695" y="44212"/>
                  <a:pt x="574625" y="40770"/>
                </a:cubicBezTo>
                <a:cubicBezTo>
                  <a:pt x="575555" y="37328"/>
                  <a:pt x="576932" y="34398"/>
                  <a:pt x="578755" y="31980"/>
                </a:cubicBezTo>
                <a:cubicBezTo>
                  <a:pt x="580578" y="29561"/>
                  <a:pt x="582829" y="27701"/>
                  <a:pt x="585508" y="26399"/>
                </a:cubicBezTo>
                <a:cubicBezTo>
                  <a:pt x="588187" y="25097"/>
                  <a:pt x="591294" y="24446"/>
                  <a:pt x="594828" y="24446"/>
                </a:cubicBezTo>
                <a:cubicBezTo>
                  <a:pt x="597879" y="24446"/>
                  <a:pt x="600670" y="25125"/>
                  <a:pt x="603200" y="26483"/>
                </a:cubicBezTo>
                <a:cubicBezTo>
                  <a:pt x="605730" y="27841"/>
                  <a:pt x="608223" y="29841"/>
                  <a:pt x="610679" y="32482"/>
                </a:cubicBezTo>
                <a:lnTo>
                  <a:pt x="610679" y="2065"/>
                </a:lnTo>
                <a:cubicBezTo>
                  <a:pt x="610679" y="1842"/>
                  <a:pt x="610725" y="1637"/>
                  <a:pt x="610818" y="1451"/>
                </a:cubicBezTo>
                <a:cubicBezTo>
                  <a:pt x="610911" y="1265"/>
                  <a:pt x="611088" y="1117"/>
                  <a:pt x="611348" y="1005"/>
                </a:cubicBezTo>
                <a:cubicBezTo>
                  <a:pt x="611609" y="893"/>
                  <a:pt x="611953" y="800"/>
                  <a:pt x="612381" y="726"/>
                </a:cubicBezTo>
                <a:cubicBezTo>
                  <a:pt x="612809" y="651"/>
                  <a:pt x="613339" y="614"/>
                  <a:pt x="613971" y="614"/>
                </a:cubicBezTo>
                <a:close/>
                <a:moveTo>
                  <a:pt x="875146" y="335"/>
                </a:moveTo>
                <a:cubicBezTo>
                  <a:pt x="875816" y="335"/>
                  <a:pt x="876365" y="363"/>
                  <a:pt x="876793" y="419"/>
                </a:cubicBezTo>
                <a:cubicBezTo>
                  <a:pt x="877220" y="475"/>
                  <a:pt x="877555" y="568"/>
                  <a:pt x="877797" y="698"/>
                </a:cubicBezTo>
                <a:cubicBezTo>
                  <a:pt x="878039" y="828"/>
                  <a:pt x="878216" y="986"/>
                  <a:pt x="878327" y="1172"/>
                </a:cubicBezTo>
                <a:cubicBezTo>
                  <a:pt x="878439" y="1358"/>
                  <a:pt x="878495" y="1563"/>
                  <a:pt x="878495" y="1786"/>
                </a:cubicBezTo>
                <a:lnTo>
                  <a:pt x="878495" y="77019"/>
                </a:lnTo>
                <a:cubicBezTo>
                  <a:pt x="878495" y="77242"/>
                  <a:pt x="878439" y="77447"/>
                  <a:pt x="878327" y="77633"/>
                </a:cubicBezTo>
                <a:cubicBezTo>
                  <a:pt x="878216" y="77819"/>
                  <a:pt x="878039" y="77968"/>
                  <a:pt x="877797" y="78079"/>
                </a:cubicBezTo>
                <a:cubicBezTo>
                  <a:pt x="877555" y="78191"/>
                  <a:pt x="877220" y="78284"/>
                  <a:pt x="876793" y="78358"/>
                </a:cubicBezTo>
                <a:cubicBezTo>
                  <a:pt x="876365" y="78433"/>
                  <a:pt x="875816" y="78470"/>
                  <a:pt x="875146" y="78470"/>
                </a:cubicBezTo>
                <a:cubicBezTo>
                  <a:pt x="874514" y="78470"/>
                  <a:pt x="873983" y="78433"/>
                  <a:pt x="873556" y="78358"/>
                </a:cubicBezTo>
                <a:cubicBezTo>
                  <a:pt x="873128" y="78284"/>
                  <a:pt x="872783" y="78191"/>
                  <a:pt x="872523" y="78079"/>
                </a:cubicBezTo>
                <a:cubicBezTo>
                  <a:pt x="872263" y="77968"/>
                  <a:pt x="872086" y="77819"/>
                  <a:pt x="871993" y="77633"/>
                </a:cubicBezTo>
                <a:cubicBezTo>
                  <a:pt x="871900" y="77447"/>
                  <a:pt x="871853" y="77242"/>
                  <a:pt x="871853" y="77019"/>
                </a:cubicBezTo>
                <a:lnTo>
                  <a:pt x="871853" y="1786"/>
                </a:lnTo>
                <a:cubicBezTo>
                  <a:pt x="871853" y="1563"/>
                  <a:pt x="871900" y="1358"/>
                  <a:pt x="871993" y="1172"/>
                </a:cubicBezTo>
                <a:cubicBezTo>
                  <a:pt x="872086" y="986"/>
                  <a:pt x="872263" y="828"/>
                  <a:pt x="872523" y="698"/>
                </a:cubicBezTo>
                <a:cubicBezTo>
                  <a:pt x="872783" y="568"/>
                  <a:pt x="873128" y="475"/>
                  <a:pt x="873556" y="419"/>
                </a:cubicBezTo>
                <a:cubicBezTo>
                  <a:pt x="873983" y="363"/>
                  <a:pt x="874514" y="335"/>
                  <a:pt x="875146" y="335"/>
                </a:cubicBezTo>
                <a:close/>
                <a:moveTo>
                  <a:pt x="246496" y="335"/>
                </a:moveTo>
                <a:cubicBezTo>
                  <a:pt x="247166" y="335"/>
                  <a:pt x="247715" y="363"/>
                  <a:pt x="248143" y="419"/>
                </a:cubicBezTo>
                <a:cubicBezTo>
                  <a:pt x="248571" y="475"/>
                  <a:pt x="248906" y="568"/>
                  <a:pt x="249147" y="698"/>
                </a:cubicBezTo>
                <a:cubicBezTo>
                  <a:pt x="249389" y="828"/>
                  <a:pt x="249566" y="986"/>
                  <a:pt x="249678" y="1172"/>
                </a:cubicBezTo>
                <a:cubicBezTo>
                  <a:pt x="249789" y="1358"/>
                  <a:pt x="249845" y="1563"/>
                  <a:pt x="249845" y="1786"/>
                </a:cubicBezTo>
                <a:lnTo>
                  <a:pt x="249845" y="77019"/>
                </a:lnTo>
                <a:cubicBezTo>
                  <a:pt x="249845" y="77242"/>
                  <a:pt x="249789" y="77447"/>
                  <a:pt x="249678" y="77633"/>
                </a:cubicBezTo>
                <a:cubicBezTo>
                  <a:pt x="249566" y="77819"/>
                  <a:pt x="249389" y="77968"/>
                  <a:pt x="249147" y="78079"/>
                </a:cubicBezTo>
                <a:cubicBezTo>
                  <a:pt x="248906" y="78191"/>
                  <a:pt x="248571" y="78284"/>
                  <a:pt x="248143" y="78358"/>
                </a:cubicBezTo>
                <a:cubicBezTo>
                  <a:pt x="247715" y="78433"/>
                  <a:pt x="247166" y="78470"/>
                  <a:pt x="246496" y="78470"/>
                </a:cubicBezTo>
                <a:cubicBezTo>
                  <a:pt x="245864" y="78470"/>
                  <a:pt x="245334" y="78433"/>
                  <a:pt x="244906" y="78358"/>
                </a:cubicBezTo>
                <a:cubicBezTo>
                  <a:pt x="244478" y="78284"/>
                  <a:pt x="244134" y="78191"/>
                  <a:pt x="243873" y="78079"/>
                </a:cubicBezTo>
                <a:cubicBezTo>
                  <a:pt x="243613" y="77968"/>
                  <a:pt x="243436" y="77819"/>
                  <a:pt x="243343" y="77633"/>
                </a:cubicBezTo>
                <a:cubicBezTo>
                  <a:pt x="243250" y="77447"/>
                  <a:pt x="243204" y="77242"/>
                  <a:pt x="243204" y="77019"/>
                </a:cubicBezTo>
                <a:lnTo>
                  <a:pt x="243204" y="1786"/>
                </a:lnTo>
                <a:cubicBezTo>
                  <a:pt x="243204" y="1563"/>
                  <a:pt x="243250" y="1358"/>
                  <a:pt x="243343" y="1172"/>
                </a:cubicBezTo>
                <a:cubicBezTo>
                  <a:pt x="243436" y="986"/>
                  <a:pt x="243613" y="828"/>
                  <a:pt x="243873" y="698"/>
                </a:cubicBezTo>
                <a:cubicBezTo>
                  <a:pt x="244134" y="568"/>
                  <a:pt x="244478" y="475"/>
                  <a:pt x="244906" y="419"/>
                </a:cubicBezTo>
                <a:cubicBezTo>
                  <a:pt x="245334" y="363"/>
                  <a:pt x="245864" y="335"/>
                  <a:pt x="246496" y="335"/>
                </a:cubicBezTo>
                <a:close/>
                <a:moveTo>
                  <a:pt x="527595" y="0"/>
                </a:moveTo>
                <a:cubicBezTo>
                  <a:pt x="528860" y="0"/>
                  <a:pt x="530088" y="121"/>
                  <a:pt x="531279" y="363"/>
                </a:cubicBezTo>
                <a:cubicBezTo>
                  <a:pt x="532469" y="605"/>
                  <a:pt x="533372" y="865"/>
                  <a:pt x="533986" y="1144"/>
                </a:cubicBezTo>
                <a:cubicBezTo>
                  <a:pt x="534599" y="1424"/>
                  <a:pt x="535009" y="1665"/>
                  <a:pt x="535213" y="1870"/>
                </a:cubicBezTo>
                <a:cubicBezTo>
                  <a:pt x="535418" y="2075"/>
                  <a:pt x="535585" y="2326"/>
                  <a:pt x="535716" y="2623"/>
                </a:cubicBezTo>
                <a:cubicBezTo>
                  <a:pt x="535846" y="2921"/>
                  <a:pt x="535939" y="3265"/>
                  <a:pt x="535995" y="3656"/>
                </a:cubicBezTo>
                <a:cubicBezTo>
                  <a:pt x="536051" y="4047"/>
                  <a:pt x="536079" y="4484"/>
                  <a:pt x="536079" y="4968"/>
                </a:cubicBezTo>
                <a:cubicBezTo>
                  <a:pt x="536079" y="5489"/>
                  <a:pt x="536051" y="5907"/>
                  <a:pt x="535995" y="6223"/>
                </a:cubicBezTo>
                <a:cubicBezTo>
                  <a:pt x="535939" y="6540"/>
                  <a:pt x="535865" y="6791"/>
                  <a:pt x="535772" y="6977"/>
                </a:cubicBezTo>
                <a:cubicBezTo>
                  <a:pt x="535679" y="7163"/>
                  <a:pt x="535567" y="7293"/>
                  <a:pt x="535437" y="7367"/>
                </a:cubicBezTo>
                <a:cubicBezTo>
                  <a:pt x="535306" y="7442"/>
                  <a:pt x="535148" y="7479"/>
                  <a:pt x="534962" y="7479"/>
                </a:cubicBezTo>
                <a:cubicBezTo>
                  <a:pt x="534665" y="7479"/>
                  <a:pt x="534311" y="7386"/>
                  <a:pt x="533902" y="7200"/>
                </a:cubicBezTo>
                <a:cubicBezTo>
                  <a:pt x="533493" y="7014"/>
                  <a:pt x="532981" y="6809"/>
                  <a:pt x="532367" y="6586"/>
                </a:cubicBezTo>
                <a:cubicBezTo>
                  <a:pt x="531753" y="6363"/>
                  <a:pt x="531028" y="6158"/>
                  <a:pt x="530191" y="5972"/>
                </a:cubicBezTo>
                <a:cubicBezTo>
                  <a:pt x="529353" y="5786"/>
                  <a:pt x="528377" y="5693"/>
                  <a:pt x="527260" y="5693"/>
                </a:cubicBezTo>
                <a:cubicBezTo>
                  <a:pt x="525698" y="5693"/>
                  <a:pt x="524377" y="5944"/>
                  <a:pt x="523298" y="6447"/>
                </a:cubicBezTo>
                <a:cubicBezTo>
                  <a:pt x="522219" y="6949"/>
                  <a:pt x="521345" y="7749"/>
                  <a:pt x="520675" y="8846"/>
                </a:cubicBezTo>
                <a:cubicBezTo>
                  <a:pt x="520005" y="9944"/>
                  <a:pt x="519531" y="11358"/>
                  <a:pt x="519252" y="13088"/>
                </a:cubicBezTo>
                <a:cubicBezTo>
                  <a:pt x="518973" y="14818"/>
                  <a:pt x="518833" y="16911"/>
                  <a:pt x="518833" y="19367"/>
                </a:cubicBezTo>
                <a:lnTo>
                  <a:pt x="518833" y="25338"/>
                </a:lnTo>
                <a:lnTo>
                  <a:pt x="531223" y="25338"/>
                </a:lnTo>
                <a:cubicBezTo>
                  <a:pt x="531483" y="25338"/>
                  <a:pt x="531707" y="25394"/>
                  <a:pt x="531893" y="25506"/>
                </a:cubicBezTo>
                <a:cubicBezTo>
                  <a:pt x="532079" y="25618"/>
                  <a:pt x="532246" y="25794"/>
                  <a:pt x="532395" y="26036"/>
                </a:cubicBezTo>
                <a:cubicBezTo>
                  <a:pt x="532544" y="26278"/>
                  <a:pt x="532655" y="26576"/>
                  <a:pt x="532730" y="26929"/>
                </a:cubicBezTo>
                <a:cubicBezTo>
                  <a:pt x="532804" y="27283"/>
                  <a:pt x="532841" y="27701"/>
                  <a:pt x="532841" y="28185"/>
                </a:cubicBezTo>
                <a:cubicBezTo>
                  <a:pt x="532841" y="29115"/>
                  <a:pt x="532693" y="29813"/>
                  <a:pt x="532395" y="30278"/>
                </a:cubicBezTo>
                <a:cubicBezTo>
                  <a:pt x="532097" y="30743"/>
                  <a:pt x="531707" y="30975"/>
                  <a:pt x="531223" y="30975"/>
                </a:cubicBezTo>
                <a:lnTo>
                  <a:pt x="518833" y="30975"/>
                </a:lnTo>
                <a:lnTo>
                  <a:pt x="518833" y="77019"/>
                </a:lnTo>
                <a:cubicBezTo>
                  <a:pt x="518833" y="77242"/>
                  <a:pt x="518777" y="77447"/>
                  <a:pt x="518666" y="77633"/>
                </a:cubicBezTo>
                <a:cubicBezTo>
                  <a:pt x="518554" y="77819"/>
                  <a:pt x="518377" y="77968"/>
                  <a:pt x="518135" y="78079"/>
                </a:cubicBezTo>
                <a:cubicBezTo>
                  <a:pt x="517894" y="78191"/>
                  <a:pt x="517549" y="78284"/>
                  <a:pt x="517103" y="78358"/>
                </a:cubicBezTo>
                <a:cubicBezTo>
                  <a:pt x="516656" y="78433"/>
                  <a:pt x="516117" y="78470"/>
                  <a:pt x="515484" y="78470"/>
                </a:cubicBezTo>
                <a:cubicBezTo>
                  <a:pt x="514852" y="78470"/>
                  <a:pt x="514322" y="78433"/>
                  <a:pt x="513894" y="78358"/>
                </a:cubicBezTo>
                <a:cubicBezTo>
                  <a:pt x="513466" y="78284"/>
                  <a:pt x="513122" y="78191"/>
                  <a:pt x="512861" y="78079"/>
                </a:cubicBezTo>
                <a:cubicBezTo>
                  <a:pt x="512601" y="77968"/>
                  <a:pt x="512424" y="77819"/>
                  <a:pt x="512331" y="77633"/>
                </a:cubicBezTo>
                <a:cubicBezTo>
                  <a:pt x="512238" y="77447"/>
                  <a:pt x="512192" y="77242"/>
                  <a:pt x="512192" y="77019"/>
                </a:cubicBezTo>
                <a:lnTo>
                  <a:pt x="512192" y="30975"/>
                </a:lnTo>
                <a:lnTo>
                  <a:pt x="504601" y="30975"/>
                </a:lnTo>
                <a:cubicBezTo>
                  <a:pt x="504080" y="30975"/>
                  <a:pt x="503681" y="30743"/>
                  <a:pt x="503401" y="30278"/>
                </a:cubicBezTo>
                <a:cubicBezTo>
                  <a:pt x="503122" y="29813"/>
                  <a:pt x="502983" y="29115"/>
                  <a:pt x="502983" y="28185"/>
                </a:cubicBezTo>
                <a:cubicBezTo>
                  <a:pt x="502983" y="27701"/>
                  <a:pt x="503020" y="27283"/>
                  <a:pt x="503094" y="26929"/>
                </a:cubicBezTo>
                <a:cubicBezTo>
                  <a:pt x="503169" y="26576"/>
                  <a:pt x="503271" y="26278"/>
                  <a:pt x="503401" y="26036"/>
                </a:cubicBezTo>
                <a:cubicBezTo>
                  <a:pt x="503532" y="25794"/>
                  <a:pt x="503699" y="25618"/>
                  <a:pt x="503904" y="25506"/>
                </a:cubicBezTo>
                <a:cubicBezTo>
                  <a:pt x="504108" y="25394"/>
                  <a:pt x="504341" y="25338"/>
                  <a:pt x="504601" y="25338"/>
                </a:cubicBezTo>
                <a:lnTo>
                  <a:pt x="512192" y="25338"/>
                </a:lnTo>
                <a:lnTo>
                  <a:pt x="512192" y="19590"/>
                </a:lnTo>
                <a:cubicBezTo>
                  <a:pt x="512192" y="16055"/>
                  <a:pt x="512508" y="13042"/>
                  <a:pt x="513140" y="10549"/>
                </a:cubicBezTo>
                <a:cubicBezTo>
                  <a:pt x="513773" y="8056"/>
                  <a:pt x="514731" y="6028"/>
                  <a:pt x="516015" y="4465"/>
                </a:cubicBezTo>
                <a:cubicBezTo>
                  <a:pt x="517298" y="2903"/>
                  <a:pt x="518907" y="1768"/>
                  <a:pt x="520842" y="1061"/>
                </a:cubicBezTo>
                <a:cubicBezTo>
                  <a:pt x="522777" y="354"/>
                  <a:pt x="525028" y="0"/>
                  <a:pt x="5275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CE14A1A-174C-43F7-982B-894AF4993B6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70F0A30-D6CA-41C5-AB42-644177F79D2B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688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1D11B7-4245-BE47-8DAA-CBB911A89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 dirty="0"/>
              <a:t>A great headline can be added here</a:t>
            </a:r>
            <a:endParaRPr lang="en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79E576-A32C-42EC-B32E-F003545F25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99C4E94-F53A-492E-B785-70BBC59C4272}" type="datetime1">
              <a:rPr lang="en-US" smtClean="0"/>
              <a:t>10/15/2024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666EB08-6077-4815-906F-DEABE3FBB8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BC3DC546-8A34-414C-9C96-6CCFCDD1D1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03959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C7094B27-9636-475F-BFF1-450575226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672103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50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/>
              <a:t>A great headline can be added here</a:t>
            </a:r>
            <a:endParaRPr lang="da-DK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670355"/>
            <a:ext cx="7016750" cy="377217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dd a subtext here if you want to. Could also be the date, place, city and country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22039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00656AAE-866E-4F97-9F52-CA9B6E32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4F16E12-2F8B-4819-92EC-8B3233EB08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878378"/>
            <a:ext cx="3957860" cy="51593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0117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02A97098-103E-48AF-ACF9-886BD3E4A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608810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1) Text can be added here</a:t>
            </a:r>
          </a:p>
        </p:txBody>
      </p:sp>
      <p:sp>
        <p:nvSpPr>
          <p:cNvPr id="32" name="Pladsholder til tekst 29">
            <a:extLst>
              <a:ext uri="{FF2B5EF4-FFF2-40B4-BE49-F238E27FC236}">
                <a16:creationId xmlns:a16="http://schemas.microsoft.com/office/drawing/2014/main" id="{07ECC3F5-521C-48AB-8858-EC4D9D8750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6" y="2026881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2) Text can be added here</a:t>
            </a:r>
          </a:p>
        </p:txBody>
      </p:sp>
      <p:sp>
        <p:nvSpPr>
          <p:cNvPr id="33" name="Pladsholder til tekst 29">
            <a:extLst>
              <a:ext uri="{FF2B5EF4-FFF2-40B4-BE49-F238E27FC236}">
                <a16:creationId xmlns:a16="http://schemas.microsoft.com/office/drawing/2014/main" id="{E38B44FD-5D54-495D-B266-F91450DED6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6" y="2444952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3) Text can be added here</a:t>
            </a:r>
          </a:p>
        </p:txBody>
      </p:sp>
      <p:sp>
        <p:nvSpPr>
          <p:cNvPr id="34" name="Pladsholder til tekst 29">
            <a:extLst>
              <a:ext uri="{FF2B5EF4-FFF2-40B4-BE49-F238E27FC236}">
                <a16:creationId xmlns:a16="http://schemas.microsoft.com/office/drawing/2014/main" id="{9C2008FE-ADD8-44DA-96FA-533B87E9C0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6" y="2863023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4) Text can be added here</a:t>
            </a:r>
          </a:p>
        </p:txBody>
      </p:sp>
      <p:sp>
        <p:nvSpPr>
          <p:cNvPr id="35" name="Pladsholder til tekst 29">
            <a:extLst>
              <a:ext uri="{FF2B5EF4-FFF2-40B4-BE49-F238E27FC236}">
                <a16:creationId xmlns:a16="http://schemas.microsoft.com/office/drawing/2014/main" id="{27F4F707-98B5-4FE7-B882-1FB61B856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6" y="3281094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5) Text can be added here</a:t>
            </a:r>
          </a:p>
        </p:txBody>
      </p:sp>
      <p:sp>
        <p:nvSpPr>
          <p:cNvPr id="36" name="Pladsholder til tekst 29">
            <a:extLst>
              <a:ext uri="{FF2B5EF4-FFF2-40B4-BE49-F238E27FC236}">
                <a16:creationId xmlns:a16="http://schemas.microsoft.com/office/drawing/2014/main" id="{532DF62C-32B1-4265-9380-A865D991D7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6" y="3688949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) Text can be added here</a:t>
            </a:r>
          </a:p>
        </p:txBody>
      </p:sp>
      <p:sp>
        <p:nvSpPr>
          <p:cNvPr id="37" name="Pladsholder til tekst 29">
            <a:extLst>
              <a:ext uri="{FF2B5EF4-FFF2-40B4-BE49-F238E27FC236}">
                <a16:creationId xmlns:a16="http://schemas.microsoft.com/office/drawing/2014/main" id="{3BF2D44F-217C-4C60-BC07-7F8C41C417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6" y="4107020"/>
            <a:ext cx="8577169" cy="330219"/>
          </a:xfrm>
          <a:prstGeom prst="roundRect">
            <a:avLst/>
          </a:prstGeom>
          <a:noFill/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7) Text can be added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774144"/>
            <a:ext cx="8654267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Agenda</a:t>
            </a:r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45880BFB-1450-486E-95D4-F010B83AAB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122" y="1164512"/>
            <a:ext cx="8621053" cy="367676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95390165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11">
            <a:extLst>
              <a:ext uri="{FF2B5EF4-FFF2-40B4-BE49-F238E27FC236}">
                <a16:creationId xmlns:a16="http://schemas.microsoft.com/office/drawing/2014/main" id="{94695BA4-F4E2-44E1-9EF6-CAFFED6C7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09C1F70-7332-4609-BA73-9430AC8C191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863510"/>
            <a:ext cx="3944948" cy="708025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CD01C6B-B607-47F6-BDA5-BC315A691CC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510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49E3B8-80F5-4815-A0F3-C7D9EBE626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164512"/>
            <a:ext cx="8654266" cy="336738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26170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74144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122" y="1164512"/>
            <a:ext cx="8621053" cy="367676"/>
          </a:xfr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44774B15-AD94-438A-9D80-51870A479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123" y="1714501"/>
            <a:ext cx="8621052" cy="275322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85225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600" y="774000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1AC9011A-EA49-4EF4-891F-54F47747D1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2122" y="1164512"/>
            <a:ext cx="3910426" cy="330953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46AA901C-C086-4BC8-BF2C-5A09D7AF81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367796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792199"/>
            <a:ext cx="3983630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7AD285B8-DCD3-4C11-8730-F670D4F997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164512"/>
            <a:ext cx="3983630" cy="330953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76630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832022"/>
            <a:ext cx="4153925" cy="3657604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792199"/>
            <a:ext cx="3983630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BA96C4D4-4F55-4182-BB94-4A5440C95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164512"/>
            <a:ext cx="3983630" cy="33251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8564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49E3B8-80F5-4815-A0F3-C7D9EBE626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9E49C5DE-5ACE-48C7-9D6C-ADD429F122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CC757AFF-7EDA-4613-B328-5B60BB86E0F3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598B244B-020B-4596-AE32-A93E2D0F825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C998380F-D6BF-42B5-8C24-51EEDB4515E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4189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832022"/>
            <a:ext cx="4192607" cy="3657604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79219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5180E6FC-6D7A-4DBD-A7E5-04BDEB531E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164511"/>
            <a:ext cx="3944948" cy="332511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26605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79219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792199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5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B16EF848-59E3-48CD-8A27-50B0A05D58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164512"/>
            <a:ext cx="3944949" cy="329519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6BE522A-3991-43C3-8E48-343CB14CB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164511"/>
            <a:ext cx="4147426" cy="329519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776828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1659151"/>
            <a:ext cx="4045816" cy="2830475"/>
          </a:xfr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4172033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792199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5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1659151"/>
            <a:ext cx="4086226" cy="2830475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E7BEB8E-2CC7-4BB7-987B-D3D416FA8F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164512"/>
            <a:ext cx="4172034" cy="3723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1C5E7902-0C19-4283-8E8C-98003277A9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164513"/>
            <a:ext cx="4147427" cy="3723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97107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838146"/>
            <a:ext cx="4057731" cy="2830475"/>
          </a:xfr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4172033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916399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5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1659151"/>
            <a:ext cx="4086226" cy="2830475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3A8B920A-7BAF-436F-AFBA-E198FB3558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164512"/>
            <a:ext cx="4172033" cy="36463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A9A9638F-A7CD-4998-8F9E-101F2E5767D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4288712"/>
            <a:ext cx="4147427" cy="364633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18710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147FD170-1F40-4981-B3EC-05B76A4395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357774"/>
            <a:ext cx="4932027" cy="3046868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99512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5BE537D-BCDB-4442-9DE4-E1065292E1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5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Thank you for listening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9537732D-1587-424B-A302-1DCEF3DD7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Phone</a:t>
            </a:r>
          </a:p>
          <a:p>
            <a:pPr lvl="0"/>
            <a:r>
              <a:rPr lang="en-US"/>
              <a:t>Mail</a:t>
            </a:r>
          </a:p>
          <a:p>
            <a:pPr lvl="0"/>
            <a:r>
              <a:rPr lang="en-US" err="1"/>
              <a:t>Kamstrup</a:t>
            </a:r>
            <a:r>
              <a:rPr lang="en-US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9B0D9CB7-59FE-49F8-A31D-1109F711F9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308591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ladsholder til tekst 16">
            <a:extLst>
              <a:ext uri="{FF2B5EF4-FFF2-40B4-BE49-F238E27FC236}">
                <a16:creationId xmlns:a16="http://schemas.microsoft.com/office/drawing/2014/main" id="{8DB71C59-4C9F-45BE-BEFF-0C211739FC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9394" y="1705440"/>
            <a:ext cx="2668502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tekst 16">
            <a:extLst>
              <a:ext uri="{FF2B5EF4-FFF2-40B4-BE49-F238E27FC236}">
                <a16:creationId xmlns:a16="http://schemas.microsoft.com/office/drawing/2014/main" id="{C48FF4E3-8A8A-41A6-8A02-65053DAEED1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91141" y="1705440"/>
            <a:ext cx="2668502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6">
            <a:extLst>
              <a:ext uri="{FF2B5EF4-FFF2-40B4-BE49-F238E27FC236}">
                <a16:creationId xmlns:a16="http://schemas.microsoft.com/office/drawing/2014/main" id="{765B74FD-5B8C-42F8-9B86-4D6DBA643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6846" y="1705440"/>
            <a:ext cx="2668502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EE58B34F-0D9C-4729-81EE-F746C4CB42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164513"/>
            <a:ext cx="8654264" cy="3723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230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dsholder til tekst 16">
            <a:extLst>
              <a:ext uri="{FF2B5EF4-FFF2-40B4-BE49-F238E27FC236}">
                <a16:creationId xmlns:a16="http://schemas.microsoft.com/office/drawing/2014/main" id="{990D1BBC-21BA-4477-BAFC-A56410C18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26457" y="1705440"/>
            <a:ext cx="1964531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8" name="Pladsholder til tekst 16">
            <a:extLst>
              <a:ext uri="{FF2B5EF4-FFF2-40B4-BE49-F238E27FC236}">
                <a16:creationId xmlns:a16="http://schemas.microsoft.com/office/drawing/2014/main" id="{DFD49DD6-FF4A-4AA7-BB4D-94E3D0E4F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5364" y="1705440"/>
            <a:ext cx="1964531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9" name="Pladsholder til tekst 16">
            <a:extLst>
              <a:ext uri="{FF2B5EF4-FFF2-40B4-BE49-F238E27FC236}">
                <a16:creationId xmlns:a16="http://schemas.microsoft.com/office/drawing/2014/main" id="{E85658F6-404C-4670-980F-E8F58EC31F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28644" y="1705440"/>
            <a:ext cx="1964531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0" name="Pladsholder til tekst 16">
            <a:extLst>
              <a:ext uri="{FF2B5EF4-FFF2-40B4-BE49-F238E27FC236}">
                <a16:creationId xmlns:a16="http://schemas.microsoft.com/office/drawing/2014/main" id="{DB049F82-D4B5-4196-A1E3-98848F039A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550" y="1705440"/>
            <a:ext cx="1964531" cy="2866560"/>
          </a:xfrm>
          <a:solidFill>
            <a:srgbClr val="F2F2F2"/>
          </a:solidFill>
        </p:spPr>
        <p:txBody>
          <a:bodyPr tIns="126000">
            <a:noAutofit/>
          </a:bodyPr>
          <a:lstStyle>
            <a:lvl1pPr marL="0" algn="l" defTabSz="457200" rtl="0" eaLnBrk="1" latinLnBrk="0" hangingPunct="1">
              <a:spcAft>
                <a:spcPts val="1300"/>
              </a:spcAft>
              <a:defRPr lang="en-US" sz="1300" b="1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  <a:lvl2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>
              <a:defRPr lang="da-DK" sz="13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>
              <a:defRPr lang="da-DK" sz="13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1A12C3C-F5BE-4117-9FA3-73E42BDEC9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164513"/>
            <a:ext cx="8654264" cy="3723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48697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02A97098-103E-48AF-ACF9-886BD3E4A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98594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1) Text can be added here</a:t>
            </a:r>
          </a:p>
        </p:txBody>
      </p:sp>
      <p:sp>
        <p:nvSpPr>
          <p:cNvPr id="32" name="Pladsholder til tekst 29">
            <a:extLst>
              <a:ext uri="{FF2B5EF4-FFF2-40B4-BE49-F238E27FC236}">
                <a16:creationId xmlns:a16="http://schemas.microsoft.com/office/drawing/2014/main" id="{07ECC3F5-521C-48AB-8858-EC4D9D8750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6" y="2016665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2) Text can be added here</a:t>
            </a:r>
          </a:p>
        </p:txBody>
      </p:sp>
      <p:sp>
        <p:nvSpPr>
          <p:cNvPr id="33" name="Pladsholder til tekst 29">
            <a:extLst>
              <a:ext uri="{FF2B5EF4-FFF2-40B4-BE49-F238E27FC236}">
                <a16:creationId xmlns:a16="http://schemas.microsoft.com/office/drawing/2014/main" id="{E38B44FD-5D54-495D-B266-F91450DED6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6" y="2434736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3) Text can be added here</a:t>
            </a:r>
          </a:p>
        </p:txBody>
      </p:sp>
      <p:sp>
        <p:nvSpPr>
          <p:cNvPr id="34" name="Pladsholder til tekst 29">
            <a:extLst>
              <a:ext uri="{FF2B5EF4-FFF2-40B4-BE49-F238E27FC236}">
                <a16:creationId xmlns:a16="http://schemas.microsoft.com/office/drawing/2014/main" id="{9C2008FE-ADD8-44DA-96FA-533B87E9C0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6" y="2852807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4) Text can be added here</a:t>
            </a:r>
          </a:p>
        </p:txBody>
      </p:sp>
      <p:sp>
        <p:nvSpPr>
          <p:cNvPr id="35" name="Pladsholder til tekst 29">
            <a:extLst>
              <a:ext uri="{FF2B5EF4-FFF2-40B4-BE49-F238E27FC236}">
                <a16:creationId xmlns:a16="http://schemas.microsoft.com/office/drawing/2014/main" id="{27F4F707-98B5-4FE7-B882-1FB61B856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6" y="3270878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5) Text can be added here</a:t>
            </a:r>
          </a:p>
        </p:txBody>
      </p:sp>
      <p:sp>
        <p:nvSpPr>
          <p:cNvPr id="36" name="Pladsholder til tekst 29">
            <a:extLst>
              <a:ext uri="{FF2B5EF4-FFF2-40B4-BE49-F238E27FC236}">
                <a16:creationId xmlns:a16="http://schemas.microsoft.com/office/drawing/2014/main" id="{532DF62C-32B1-4265-9380-A865D991D7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6" y="3688949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) Text can be added here</a:t>
            </a:r>
          </a:p>
        </p:txBody>
      </p:sp>
      <p:sp>
        <p:nvSpPr>
          <p:cNvPr id="37" name="Pladsholder til tekst 29">
            <a:extLst>
              <a:ext uri="{FF2B5EF4-FFF2-40B4-BE49-F238E27FC236}">
                <a16:creationId xmlns:a16="http://schemas.microsoft.com/office/drawing/2014/main" id="{3BF2D44F-217C-4C60-BC07-7F8C41C417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6" y="4107020"/>
            <a:ext cx="8577169" cy="330219"/>
          </a:xfrm>
          <a:prstGeom prst="roundRect">
            <a:avLst/>
          </a:prstGeom>
          <a:solidFill>
            <a:srgbClr val="F2F2F2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7) Text can be added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74144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28" name="Pladsholder til tekst 27">
            <a:extLst>
              <a:ext uri="{FF2B5EF4-FFF2-40B4-BE49-F238E27FC236}">
                <a16:creationId xmlns:a16="http://schemas.microsoft.com/office/drawing/2014/main" id="{45880BFB-1450-486E-95D4-F010B83AAB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2122" y="1164512"/>
            <a:ext cx="8621053" cy="367676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</p:spTree>
    <p:extLst>
      <p:ext uri="{BB962C8B-B14F-4D97-AF65-F5344CB8AC3E}">
        <p14:creationId xmlns:p14="http://schemas.microsoft.com/office/powerpoint/2010/main" val="3065778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: Rounded Corners 4">
            <a:extLst>
              <a:ext uri="{FF2B5EF4-FFF2-40B4-BE49-F238E27FC236}">
                <a16:creationId xmlns:a16="http://schemas.microsoft.com/office/drawing/2014/main" id="{3D4C2FAC-8555-4224-8F04-CB30367390A4}"/>
              </a:ext>
            </a:extLst>
          </p:cNvPr>
          <p:cNvSpPr/>
          <p:nvPr userDrawn="1"/>
        </p:nvSpPr>
        <p:spPr>
          <a:xfrm>
            <a:off x="347783" y="1266092"/>
            <a:ext cx="8553940" cy="3024554"/>
          </a:xfrm>
          <a:prstGeom prst="roundRect">
            <a:avLst>
              <a:gd name="adj" fmla="val 245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74144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B06F710E-26AB-4CD5-BE28-39DA940CD45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9" y="1396799"/>
            <a:ext cx="8328217" cy="2791479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4437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44774B15-AD94-438A-9D80-51870A479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8347768-67F1-487F-96AB-5634D7D78AB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D35507FC-A269-4F21-8977-C763FD0775C2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63B8B919-091F-4DB8-9DEE-C5546B5D0A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B4DBE4C-7B14-49D2-8512-1BA8CC078C2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354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9BEACCDE-0177-4AFC-B161-E7386289D802}"/>
              </a:ext>
            </a:extLst>
          </p:cNvPr>
          <p:cNvSpPr/>
          <p:nvPr userDrawn="1"/>
        </p:nvSpPr>
        <p:spPr>
          <a:xfrm>
            <a:off x="347783" y="1627898"/>
            <a:ext cx="8557308" cy="2662748"/>
          </a:xfrm>
          <a:prstGeom prst="roundRect">
            <a:avLst>
              <a:gd name="adj" fmla="val 245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74144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122" y="1164512"/>
            <a:ext cx="8621053" cy="367676"/>
          </a:xfr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061BFE70-C038-451A-9B86-F7D04289DB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714500"/>
            <a:ext cx="8328217" cy="2473778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49930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dsholder til tekst 34">
            <a:extLst>
              <a:ext uri="{FF2B5EF4-FFF2-40B4-BE49-F238E27FC236}">
                <a16:creationId xmlns:a16="http://schemas.microsoft.com/office/drawing/2014/main" id="{BD953F8C-BC52-4C95-8462-14790A2BF7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1607125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algn="ctr"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9" name="Pladsholder til tekst 16">
            <a:extLst>
              <a:ext uri="{FF2B5EF4-FFF2-40B4-BE49-F238E27FC236}">
                <a16:creationId xmlns:a16="http://schemas.microsoft.com/office/drawing/2014/main" id="{BF971E93-D150-4430-B062-74CE5A162F6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311401"/>
            <a:ext cx="1530349" cy="2200081"/>
          </a:xfrm>
          <a:prstGeom prst="roundRect">
            <a:avLst>
              <a:gd name="adj" fmla="val 2144"/>
            </a:avLst>
          </a:prstGeom>
          <a:solidFill>
            <a:srgbClr val="F2F2F2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30" name="Pladsholder til tekst 16">
            <a:extLst>
              <a:ext uri="{FF2B5EF4-FFF2-40B4-BE49-F238E27FC236}">
                <a16:creationId xmlns:a16="http://schemas.microsoft.com/office/drawing/2014/main" id="{832D1909-5260-40C0-BDD5-F857EFC194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306586"/>
            <a:ext cx="1530349" cy="2200081"/>
          </a:xfrm>
          <a:prstGeom prst="roundRect">
            <a:avLst>
              <a:gd name="adj" fmla="val 2144"/>
            </a:avLst>
          </a:prstGeom>
          <a:solidFill>
            <a:srgbClr val="F2F2F2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31" name="Pladsholder til tekst 16">
            <a:extLst>
              <a:ext uri="{FF2B5EF4-FFF2-40B4-BE49-F238E27FC236}">
                <a16:creationId xmlns:a16="http://schemas.microsoft.com/office/drawing/2014/main" id="{4412FCA0-772E-4B57-9733-2ECD643AC4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301771"/>
            <a:ext cx="1530349" cy="2200081"/>
          </a:xfrm>
          <a:prstGeom prst="roundRect">
            <a:avLst>
              <a:gd name="adj" fmla="val 2144"/>
            </a:avLst>
          </a:prstGeom>
          <a:solidFill>
            <a:srgbClr val="F2F2F2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32" name="Pladsholder til tekst 16">
            <a:extLst>
              <a:ext uri="{FF2B5EF4-FFF2-40B4-BE49-F238E27FC236}">
                <a16:creationId xmlns:a16="http://schemas.microsoft.com/office/drawing/2014/main" id="{E67E7CC4-EC60-4C84-B15B-5C3551B99D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296956"/>
            <a:ext cx="1530349" cy="2200081"/>
          </a:xfrm>
          <a:prstGeom prst="roundRect">
            <a:avLst>
              <a:gd name="adj" fmla="val 2144"/>
            </a:avLst>
          </a:prstGeom>
          <a:solidFill>
            <a:srgbClr val="F2F2F2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33" name="Pladsholder til tekst 16">
            <a:extLst>
              <a:ext uri="{FF2B5EF4-FFF2-40B4-BE49-F238E27FC236}">
                <a16:creationId xmlns:a16="http://schemas.microsoft.com/office/drawing/2014/main" id="{C0D9A99F-FB37-42F2-B7E1-3EE53C9C1F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292141"/>
            <a:ext cx="1530349" cy="2200081"/>
          </a:xfrm>
          <a:prstGeom prst="roundRect">
            <a:avLst>
              <a:gd name="adj" fmla="val 2144"/>
            </a:avLst>
          </a:prstGeom>
          <a:solidFill>
            <a:srgbClr val="F2F2F2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6567F53C-B6C7-4B4C-B4F2-255ED75E8D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1607125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algn="ctr"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7" name="Pladsholder til tekst 36">
            <a:extLst>
              <a:ext uri="{FF2B5EF4-FFF2-40B4-BE49-F238E27FC236}">
                <a16:creationId xmlns:a16="http://schemas.microsoft.com/office/drawing/2014/main" id="{007027D8-ED06-4C3D-86F8-8344ADA2EE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1607125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algn="ctr"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8" name="Pladsholder til tekst 37">
            <a:extLst>
              <a:ext uri="{FF2B5EF4-FFF2-40B4-BE49-F238E27FC236}">
                <a16:creationId xmlns:a16="http://schemas.microsoft.com/office/drawing/2014/main" id="{228534C3-0728-4FC8-AD17-216CE7B45B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1607125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algn="ctr"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9" name="Pladsholder til tekst 38">
            <a:extLst>
              <a:ext uri="{FF2B5EF4-FFF2-40B4-BE49-F238E27FC236}">
                <a16:creationId xmlns:a16="http://schemas.microsoft.com/office/drawing/2014/main" id="{C78580A6-1AEA-4A8B-8235-C2D0F553FA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1607125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algn="ctr"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3AC33686-78C1-49A0-9AFF-494B65C4789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164513"/>
            <a:ext cx="8666182" cy="37198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01476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y in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9">
            <a:extLst>
              <a:ext uri="{FF2B5EF4-FFF2-40B4-BE49-F238E27FC236}">
                <a16:creationId xmlns:a16="http://schemas.microsoft.com/office/drawing/2014/main" id="{32962997-D6F3-4A03-AAF2-D76D357C15A5}"/>
              </a:ext>
            </a:extLst>
          </p:cNvPr>
          <p:cNvSpPr/>
          <p:nvPr userDrawn="1"/>
        </p:nvSpPr>
        <p:spPr>
          <a:xfrm>
            <a:off x="323850" y="1680729"/>
            <a:ext cx="8569324" cy="2441656"/>
          </a:xfrm>
          <a:prstGeom prst="roundRect">
            <a:avLst>
              <a:gd name="adj" fmla="val 2581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8" name="Pladsholder til tekst 4">
            <a:extLst>
              <a:ext uri="{FF2B5EF4-FFF2-40B4-BE49-F238E27FC236}">
                <a16:creationId xmlns:a16="http://schemas.microsoft.com/office/drawing/2014/main" id="{ADFCAC27-8688-4418-B9CE-83FE1FBEFA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976" y="3425597"/>
            <a:ext cx="4765304" cy="291600"/>
          </a:xfrm>
        </p:spPr>
        <p:txBody>
          <a:bodyPr/>
          <a:lstStyle>
            <a:lvl1pPr marL="285750" indent="-285750" rtl="0">
              <a:defRPr lang="da-DK" sz="1300" b="0" i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/>
              <a:t>Text can be added here</a:t>
            </a:r>
            <a:endParaRPr lang="da-DK"/>
          </a:p>
        </p:txBody>
      </p:sp>
      <p:sp>
        <p:nvSpPr>
          <p:cNvPr id="27" name="Pladsholder til tekst 4">
            <a:extLst>
              <a:ext uri="{FF2B5EF4-FFF2-40B4-BE49-F238E27FC236}">
                <a16:creationId xmlns:a16="http://schemas.microsoft.com/office/drawing/2014/main" id="{6B55A6EF-14E4-4AC5-9CB0-3FE3310E97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3976" y="2690544"/>
            <a:ext cx="4765304" cy="291600"/>
          </a:xfrm>
        </p:spPr>
        <p:txBody>
          <a:bodyPr/>
          <a:lstStyle>
            <a:lvl1pPr marL="285750" indent="-285750">
              <a:defRPr lang="da-DK" sz="1300" b="0" i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/>
              <a:t>Text can be added here</a:t>
            </a:r>
            <a:endParaRPr lang="da-DK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AB929791-E422-43ED-88D1-758EB4E5D27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2753" y="1967883"/>
            <a:ext cx="363600" cy="363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/>
              <a:t> </a:t>
            </a:r>
          </a:p>
        </p:txBody>
      </p:sp>
      <p:sp>
        <p:nvSpPr>
          <p:cNvPr id="25" name="Pladsholder til billede 2">
            <a:extLst>
              <a:ext uri="{FF2B5EF4-FFF2-40B4-BE49-F238E27FC236}">
                <a16:creationId xmlns:a16="http://schemas.microsoft.com/office/drawing/2014/main" id="{8821CE3E-DAAA-44FF-B663-1E5E0E7D062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2753" y="2650904"/>
            <a:ext cx="363600" cy="363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/>
              <a:t> </a:t>
            </a:r>
          </a:p>
        </p:txBody>
      </p:sp>
      <p:sp>
        <p:nvSpPr>
          <p:cNvPr id="26" name="Pladsholder til billede 2">
            <a:extLst>
              <a:ext uri="{FF2B5EF4-FFF2-40B4-BE49-F238E27FC236}">
                <a16:creationId xmlns:a16="http://schemas.microsoft.com/office/drawing/2014/main" id="{08766FBA-A7C9-4F17-8698-608C64A94C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2753" y="3415325"/>
            <a:ext cx="363600" cy="36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/>
              <a:t> 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792199"/>
            <a:ext cx="8654266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360F0A4-609B-4C24-829D-055821CC08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3976" y="1995624"/>
            <a:ext cx="4765304" cy="291600"/>
          </a:xfrm>
        </p:spPr>
        <p:txBody>
          <a:bodyPr/>
          <a:lstStyle>
            <a:lvl1pPr marL="285750" indent="-285750">
              <a:defRPr lang="da-DK" sz="1300" b="0" i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285750" lvl="0" indent="-285750" algn="l" defTabSz="4572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/>
              <a:t>Text can be added here</a:t>
            </a:r>
            <a:endParaRPr lang="da-DK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EC0451E7-1065-4874-9965-E728AEB7CF0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8909" y="1164513"/>
            <a:ext cx="8654265" cy="37231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59343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 stori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4572000" cy="5143500"/>
          </a:xfr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39" name="Pladsholder til tekst 16">
            <a:extLst>
              <a:ext uri="{FF2B5EF4-FFF2-40B4-BE49-F238E27FC236}">
                <a16:creationId xmlns:a16="http://schemas.microsoft.com/office/drawing/2014/main" id="{BDB091DD-7B2E-44DE-81C8-52E61ADA2A3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8887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>
            <a:lvl1pPr algn="ctr"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BA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7420" y="1763191"/>
            <a:ext cx="4018277" cy="1071772"/>
          </a:xfrm>
          <a:noFill/>
        </p:spPr>
        <p:txBody>
          <a:bodyPr wrap="square" rtlCol="0" anchor="t">
            <a:noAutofit/>
          </a:bodyPr>
          <a:lstStyle>
            <a:lvl1pPr rtl="0">
              <a:defRPr lang="da-DK" sz="1800" b="1" i="1" kern="1200" dirty="0" smtClean="0">
                <a:solidFill>
                  <a:schemeClr val="bg2"/>
                </a:solidFill>
                <a:latin typeface="Calibri Light"/>
                <a:ea typeface="+mn-ea"/>
                <a:cs typeface="Calibri Light"/>
              </a:defRPr>
            </a:lvl1pPr>
          </a:lstStyle>
          <a:p>
            <a:pPr marL="0" lvl="0" defTabSz="457200"/>
            <a:r>
              <a:rPr lang="en-US"/>
              <a:t>“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 </a:t>
            </a:r>
            <a:r>
              <a:rPr lang="en-US" err="1"/>
              <a:t>Qoute</a:t>
            </a:r>
            <a:r>
              <a:rPr lang="en-US"/>
              <a:t> can be added here.”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21050" y="3640132"/>
            <a:ext cx="930390" cy="949233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Logo</a:t>
            </a:r>
          </a:p>
        </p:txBody>
      </p:sp>
      <p:sp>
        <p:nvSpPr>
          <p:cNvPr id="16" name="Pladsholder til tekst 16">
            <a:extLst>
              <a:ext uri="{FF2B5EF4-FFF2-40B4-BE49-F238E27FC236}">
                <a16:creationId xmlns:a16="http://schemas.microsoft.com/office/drawing/2014/main" id="{FE5D910B-E023-4441-9C8A-35373F251F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79327" y="2890909"/>
            <a:ext cx="4006369" cy="364633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300" b="0" i="0" kern="1200" dirty="0" smtClean="0">
                <a:solidFill>
                  <a:schemeClr val="bg2"/>
                </a:solidFill>
                <a:latin typeface="Calibri Light"/>
                <a:ea typeface="+mn-ea"/>
                <a:cs typeface="Calibri Light"/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r>
              <a:rPr lang="en-US"/>
              <a:t>, Title, Company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Pladsholder til tekst 16">
            <a:extLst>
              <a:ext uri="{FF2B5EF4-FFF2-40B4-BE49-F238E27FC236}">
                <a16:creationId xmlns:a16="http://schemas.microsoft.com/office/drawing/2014/main" id="{026032D9-CC99-4B1B-87A4-46FEE5BE38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45685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Highlight in numbers can be added here</a:t>
            </a:r>
          </a:p>
        </p:txBody>
      </p:sp>
      <p:sp>
        <p:nvSpPr>
          <p:cNvPr id="38" name="Pladsholder til tekst 16">
            <a:extLst>
              <a:ext uri="{FF2B5EF4-FFF2-40B4-BE49-F238E27FC236}">
                <a16:creationId xmlns:a16="http://schemas.microsoft.com/office/drawing/2014/main" id="{A63C3F28-0842-4CF0-80CA-121AAC88BD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63272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Highlight in numbers can be added here</a:t>
            </a:r>
          </a:p>
        </p:txBody>
      </p:sp>
      <p:pic>
        <p:nvPicPr>
          <p:cNvPr id="40" name="Picture 10">
            <a:extLst>
              <a:ext uri="{FF2B5EF4-FFF2-40B4-BE49-F238E27FC236}">
                <a16:creationId xmlns:a16="http://schemas.microsoft.com/office/drawing/2014/main" id="{5A810C73-20BE-4407-BF54-6ADE8552AD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922" y="3811826"/>
            <a:ext cx="602123" cy="458761"/>
          </a:xfrm>
          <a:prstGeom prst="rect">
            <a:avLst/>
          </a:prstGeom>
        </p:spPr>
      </p:pic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F23C4C6-FB0F-419C-86C9-763733B0C5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56026" y="3384939"/>
            <a:ext cx="4029671" cy="129266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84891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 stori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72001" y="0"/>
            <a:ext cx="4572000" cy="5143500"/>
          </a:xfr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39" name="Pladsholder til tekst 16">
            <a:extLst>
              <a:ext uri="{FF2B5EF4-FFF2-40B4-BE49-F238E27FC236}">
                <a16:creationId xmlns:a16="http://schemas.microsoft.com/office/drawing/2014/main" id="{BDB091DD-7B2E-44DE-81C8-52E61ADA2A3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88059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>
            <a:lvl1pPr algn="ctr"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BA</a:t>
            </a:r>
          </a:p>
        </p:txBody>
      </p:sp>
      <p:sp>
        <p:nvSpPr>
          <p:cNvPr id="37" name="Pladsholder til tekst 16">
            <a:extLst>
              <a:ext uri="{FF2B5EF4-FFF2-40B4-BE49-F238E27FC236}">
                <a16:creationId xmlns:a16="http://schemas.microsoft.com/office/drawing/2014/main" id="{026032D9-CC99-4B1B-87A4-46FEE5BE38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24857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Highlight in numbers can be added here</a:t>
            </a:r>
          </a:p>
        </p:txBody>
      </p:sp>
      <p:sp>
        <p:nvSpPr>
          <p:cNvPr id="38" name="Pladsholder til tekst 16">
            <a:extLst>
              <a:ext uri="{FF2B5EF4-FFF2-40B4-BE49-F238E27FC236}">
                <a16:creationId xmlns:a16="http://schemas.microsoft.com/office/drawing/2014/main" id="{A63C3F28-0842-4CF0-80CA-121AAC88BD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42444" y="3636738"/>
            <a:ext cx="932400" cy="952627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000" b="0" dirty="0" smtClean="0">
                <a:solidFill>
                  <a:schemeClr val="lt1"/>
                </a:solidFill>
                <a:latin typeface="+mn-lt"/>
                <a:cs typeface="+mn-cs"/>
              </a:defRPr>
            </a:lvl1pPr>
          </a:lstStyle>
          <a:p>
            <a:pPr lvl="0" defTabSz="457200"/>
            <a:r>
              <a:rPr lang="en-US"/>
              <a:t>Highlight in numbers can be added here</a:t>
            </a:r>
          </a:p>
        </p:txBody>
      </p:sp>
      <p:pic>
        <p:nvPicPr>
          <p:cNvPr id="40" name="Picture 10">
            <a:extLst>
              <a:ext uri="{FF2B5EF4-FFF2-40B4-BE49-F238E27FC236}">
                <a16:creationId xmlns:a16="http://schemas.microsoft.com/office/drawing/2014/main" id="{5A810C73-20BE-4407-BF54-6ADE8552AD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39094" y="3811826"/>
            <a:ext cx="602123" cy="458761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3949" y="1763191"/>
            <a:ext cx="4006885" cy="1071772"/>
          </a:xfrm>
          <a:noFill/>
        </p:spPr>
        <p:txBody>
          <a:bodyPr wrap="square" rtlCol="0" anchor="t">
            <a:noAutofit/>
          </a:bodyPr>
          <a:lstStyle>
            <a:lvl1pPr rtl="0">
              <a:defRPr lang="da-DK" sz="1800" b="1" i="1" kern="1200" dirty="0" smtClean="0">
                <a:solidFill>
                  <a:schemeClr val="bg2"/>
                </a:solidFill>
                <a:latin typeface="Calibri Light"/>
                <a:ea typeface="+mn-ea"/>
                <a:cs typeface="Calibri Light"/>
              </a:defRPr>
            </a:lvl1pPr>
          </a:lstStyle>
          <a:p>
            <a:pPr marL="0" lvl="0" defTabSz="457200"/>
            <a:r>
              <a:rPr lang="en-US"/>
              <a:t>“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. </a:t>
            </a:r>
            <a:r>
              <a:rPr lang="en-US" err="1"/>
              <a:t>Qoute</a:t>
            </a:r>
            <a:r>
              <a:rPr lang="en-US"/>
              <a:t> can be added here </a:t>
            </a:r>
            <a:r>
              <a:rPr lang="en-US" err="1"/>
              <a:t>Qoute</a:t>
            </a:r>
            <a:r>
              <a:rPr lang="en-US"/>
              <a:t> can be added here.”</a:t>
            </a:r>
          </a:p>
        </p:txBody>
      </p:sp>
      <p:sp>
        <p:nvSpPr>
          <p:cNvPr id="16" name="Pladsholder til tekst 16">
            <a:extLst>
              <a:ext uri="{FF2B5EF4-FFF2-40B4-BE49-F238E27FC236}">
                <a16:creationId xmlns:a16="http://schemas.microsoft.com/office/drawing/2014/main" id="{FE5D910B-E023-4441-9C8A-35373F251F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5857" y="2890909"/>
            <a:ext cx="3994978" cy="364633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300" b="0" i="0" kern="1200" dirty="0" smtClean="0">
                <a:solidFill>
                  <a:schemeClr val="bg2"/>
                </a:solidFill>
                <a:latin typeface="Calibri Light"/>
                <a:ea typeface="+mn-ea"/>
                <a:cs typeface="Calibri Light"/>
              </a:defRPr>
            </a:lvl1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r>
              <a:rPr lang="en-US"/>
              <a:t>, Title, Company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5" name="Ink 1">
                <a:extLst>
                  <a:ext uri="{FF2B5EF4-FFF2-40B4-BE49-F238E27FC236}">
                    <a16:creationId xmlns:a16="http://schemas.microsoft.com/office/drawing/2014/main" id="{95957FEA-A64A-44A4-A203-47BEF5B399B7}"/>
                  </a:ext>
                </a:extLst>
              </p14:cNvPr>
              <p14:cNvContentPartPr/>
              <p14:nvPr userDrawn="1"/>
            </p14:nvContentPartPr>
            <p14:xfrm>
              <a:off x="5719591" y="4948901"/>
              <a:ext cx="5040" cy="1080"/>
            </p14:xfrm>
          </p:contentPart>
        </mc:Choice>
        <mc:Fallback xmlns="">
          <p:pic>
            <p:nvPicPr>
              <p:cNvPr id="35" name="Ink 1">
                <a:extLst>
                  <a:ext uri="{FF2B5EF4-FFF2-40B4-BE49-F238E27FC236}">
                    <a16:creationId xmlns:a16="http://schemas.microsoft.com/office/drawing/2014/main" id="{95957FEA-A64A-44A4-A203-47BEF5B399B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711191" y="4935401"/>
                <a:ext cx="21504" cy="2754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00222" y="3640132"/>
            <a:ext cx="930390" cy="949233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Logo</a:t>
            </a: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41141196-59A5-4BE2-968E-E6919A31C84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12558" y="3384939"/>
            <a:ext cx="4018278" cy="132197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LOGO">
            <a:extLst>
              <a:ext uri="{FF2B5EF4-FFF2-40B4-BE49-F238E27FC236}">
                <a16:creationId xmlns:a16="http://schemas.microsoft.com/office/drawing/2014/main" id="{61F89D8A-82AF-43DA-9A3C-9A6E41ED1B8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734979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02A97098-103E-48AF-ACF9-886BD3E4A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608810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1) Text can be added here</a:t>
            </a:r>
          </a:p>
        </p:txBody>
      </p:sp>
      <p:sp>
        <p:nvSpPr>
          <p:cNvPr id="32" name="Pladsholder til tekst 29">
            <a:extLst>
              <a:ext uri="{FF2B5EF4-FFF2-40B4-BE49-F238E27FC236}">
                <a16:creationId xmlns:a16="http://schemas.microsoft.com/office/drawing/2014/main" id="{07ECC3F5-521C-48AB-8858-EC4D9D8750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6" y="2026881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2) Text can be added here</a:t>
            </a:r>
          </a:p>
        </p:txBody>
      </p:sp>
      <p:sp>
        <p:nvSpPr>
          <p:cNvPr id="33" name="Pladsholder til tekst 29">
            <a:extLst>
              <a:ext uri="{FF2B5EF4-FFF2-40B4-BE49-F238E27FC236}">
                <a16:creationId xmlns:a16="http://schemas.microsoft.com/office/drawing/2014/main" id="{E38B44FD-5D54-495D-B266-F91450DED6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6" y="2444952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3) Text can be added here</a:t>
            </a:r>
          </a:p>
        </p:txBody>
      </p:sp>
      <p:sp>
        <p:nvSpPr>
          <p:cNvPr id="34" name="Pladsholder til tekst 29">
            <a:extLst>
              <a:ext uri="{FF2B5EF4-FFF2-40B4-BE49-F238E27FC236}">
                <a16:creationId xmlns:a16="http://schemas.microsoft.com/office/drawing/2014/main" id="{9C2008FE-ADD8-44DA-96FA-533B87E9C0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6" y="2863023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4) Text can be added here</a:t>
            </a:r>
          </a:p>
        </p:txBody>
      </p:sp>
      <p:sp>
        <p:nvSpPr>
          <p:cNvPr id="35" name="Pladsholder til tekst 29">
            <a:extLst>
              <a:ext uri="{FF2B5EF4-FFF2-40B4-BE49-F238E27FC236}">
                <a16:creationId xmlns:a16="http://schemas.microsoft.com/office/drawing/2014/main" id="{27F4F707-98B5-4FE7-B882-1FB61B856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6" y="3281094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5) Text can be added here</a:t>
            </a:r>
          </a:p>
        </p:txBody>
      </p:sp>
      <p:sp>
        <p:nvSpPr>
          <p:cNvPr id="36" name="Pladsholder til tekst 29">
            <a:extLst>
              <a:ext uri="{FF2B5EF4-FFF2-40B4-BE49-F238E27FC236}">
                <a16:creationId xmlns:a16="http://schemas.microsoft.com/office/drawing/2014/main" id="{532DF62C-32B1-4265-9380-A865D991D7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6" y="3688949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6) Text can be added here</a:t>
            </a:r>
          </a:p>
        </p:txBody>
      </p:sp>
      <p:sp>
        <p:nvSpPr>
          <p:cNvPr id="37" name="Pladsholder til tekst 29">
            <a:extLst>
              <a:ext uri="{FF2B5EF4-FFF2-40B4-BE49-F238E27FC236}">
                <a16:creationId xmlns:a16="http://schemas.microsoft.com/office/drawing/2014/main" id="{3BF2D44F-217C-4C60-BC07-7F8C41C417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6" y="4107020"/>
            <a:ext cx="8577169" cy="330219"/>
          </a:xfrm>
          <a:prstGeom prst="roundRect">
            <a:avLst/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7) Text can be added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774144"/>
            <a:ext cx="8654267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5AA0FCF5-56BE-4FF8-9A4B-8C643CBFAF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2122" y="1164512"/>
            <a:ext cx="8632970" cy="390368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04786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&lt;DD Month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noFill/>
        </p:spPr>
        <p:txBody>
          <a:bodyPr wrap="square" rtlCol="0" anchor="t">
            <a:noAutofit/>
          </a:bodyPr>
          <a:lstStyle>
            <a:lvl1pPr algn="l">
              <a:defRPr lang="da-DK" sz="25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/>
              <a:t>A great headline can be added here</a:t>
            </a:r>
            <a:endParaRPr lang="da-DK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670355"/>
            <a:ext cx="7016750" cy="377217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dd a subtext here if you want to. Could also be the date, place, city and country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03082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Thank</a:t>
            </a:r>
            <a:r>
              <a:rPr lang="da-DK"/>
              <a:t> </a:t>
            </a:r>
            <a:r>
              <a:rPr lang="da-DK" err="1"/>
              <a:t>you</a:t>
            </a:r>
            <a:r>
              <a:rPr lang="da-DK"/>
              <a:t> for </a:t>
            </a:r>
            <a:r>
              <a:rPr lang="da-DK" err="1"/>
              <a:t>listening</a:t>
            </a:r>
            <a:endParaRPr lang="da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ladsholder til tekst 16">
            <a:extLst>
              <a:ext uri="{FF2B5EF4-FFF2-40B4-BE49-F238E27FC236}">
                <a16:creationId xmlns:a16="http://schemas.microsoft.com/office/drawing/2014/main" id="{FBBD9D14-CEB6-4A31-8A69-5024033E1A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Phone</a:t>
            </a:r>
          </a:p>
          <a:p>
            <a:pPr lvl="0"/>
            <a:r>
              <a:rPr lang="en-US"/>
              <a:t>Mail</a:t>
            </a:r>
          </a:p>
          <a:p>
            <a:pPr lvl="0"/>
            <a:r>
              <a:rPr lang="en-US" err="1"/>
              <a:t>Kamstrup</a:t>
            </a:r>
            <a:r>
              <a:rPr lang="en-US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2B811EE3-BC7D-4C01-852D-5CB63F5ADE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94029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4708922"/>
            <a:ext cx="365125" cy="2077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338400" y="1458440"/>
            <a:ext cx="5108400" cy="2079000"/>
          </a:xfrm>
          <a:solidFill>
            <a:srgbClr val="FFFFFF"/>
          </a:solidFill>
        </p:spPr>
        <p:txBody>
          <a:bodyPr lIns="252000" tIns="180000" rIns="252000">
            <a:noAutofit/>
          </a:bodyPr>
          <a:lstStyle>
            <a:lvl1pPr>
              <a:lnSpc>
                <a:spcPct val="85000"/>
              </a:lnSpc>
              <a:defRPr sz="2850" b="0">
                <a:solidFill>
                  <a:srgbClr val="009CA6"/>
                </a:solidFill>
              </a:defRPr>
            </a:lvl1pPr>
            <a:lvl2pPr>
              <a:lnSpc>
                <a:spcPct val="85000"/>
              </a:lnSpc>
              <a:defRPr sz="1875">
                <a:solidFill>
                  <a:schemeClr val="tx1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98476" y="4704899"/>
            <a:ext cx="365125" cy="207749"/>
          </a:xfrm>
          <a:prstGeom prst="rect">
            <a:avLst/>
          </a:prstGeom>
        </p:spPr>
        <p:txBody>
          <a:bodyPr vert="horz" wrap="square" lIns="68580" tIns="34290" rIns="68580" bIns="34290" rtlCol="0" anchor="t" anchorCtr="0">
            <a:spAutoFit/>
          </a:bodyPr>
          <a:lstStyle>
            <a:lvl1pPr>
              <a:defRPr>
                <a:latin typeface="Calibri Light" pitchFamily="34" charset="0"/>
              </a:defRPr>
            </a:lvl1pPr>
          </a:lstStyle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D3B40A-0F32-4C00-95C5-EE1A45BB4C7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Calibri Light" pitchFamily="34" charset="0"/>
                <a:ea typeface="+mn-ea"/>
                <a:cs typeface="Calibri"/>
              </a:rPr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Calibri Light" pitchFamily="34" charset="0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273122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98475" y="831601"/>
            <a:ext cx="4014000" cy="373869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35501" y="831601"/>
            <a:ext cx="4013200" cy="373869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8EB0C82-420F-47BA-975C-5110785CD6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&lt;DD Month YYYY&gt;</a:t>
            </a: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67B0059-8685-45C0-B2DD-D0FEA5956E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&lt;Footer&gt;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E4D1BA8-6B2D-403A-BAE8-B2603090BF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BA5CB-F72B-4CF4-ADC9-4BE73B2B3F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6100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60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1AC9011A-EA49-4EF4-891F-54F47747D1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008000"/>
            <a:ext cx="3910426" cy="330953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46AA901C-C086-4BC8-BF2C-5A09D7AF81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4CE8386-63A6-4DFC-A51F-2656AB801DA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E139582-66A1-4812-AC40-9E20F2107A2B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216C05-6699-45A5-8F36-94F1367F050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709BEE5-EB0A-4D13-8129-1A7F65E6DFF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998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831601"/>
            <a:ext cx="6773706" cy="3738693"/>
          </a:xfrm>
        </p:spPr>
        <p:txBody>
          <a:bodyPr/>
          <a:lstStyle>
            <a:lvl1pPr>
              <a:defRPr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0267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C7094B27-9636-475F-BFF1-4505752266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&lt;DD </a:t>
            </a:r>
            <a:r>
              <a:rPr lang="da-DK" err="1"/>
              <a:t>Month</a:t>
            </a:r>
            <a:r>
              <a:rPr lang="da-DK"/>
              <a:t> YYYY&gt;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&lt;Footer&gt;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A54C769-2A75-CA42-A6CC-58C1ED6C8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986423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baseline="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/>
              <a:t>A great headline can be added here</a:t>
            </a:r>
            <a:endParaRPr lang="da-DK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dd a subtext here if you want to. Could also be the date, place, city and country</a:t>
            </a: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16DA611-9CD3-4367-827B-032B6C1C4A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1D60672F-65BB-4FBF-B4E6-75615ABEB5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C822FFC-45AC-4A54-A746-0E5E985DD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76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/>
              <a:t>A great headline can be added here</a:t>
            </a:r>
            <a:endParaRPr lang="da-DK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Add a subtext here if you want to. Could also be the date, place, city and country</a:t>
            </a:r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2249EC9-7A8B-4EBB-83B2-2BB8BCB24CC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2BFE2FA-E4CE-4E70-ACBC-366ABF50B7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D73F2CD-401A-4CFE-BE55-7228051075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344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00656AAE-866E-4F97-9F52-CA9B6E32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4F16E12-2F8B-4819-92EC-8B3233EB08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0B4BE46-0BF6-42C7-B92D-83065034DFF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5731F026-D308-4296-A2D5-8A8A7BCB583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9A346B98-9570-48D7-B7AA-C2B247360BE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953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6E97C351-2560-F141-8560-11E36661F4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rIns="108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endParaRPr lang="en-US"/>
          </a:p>
        </p:txBody>
      </p:sp>
      <p:sp>
        <p:nvSpPr>
          <p:cNvPr id="14" name="Pladsholder til tekst 27">
            <a:extLst>
              <a:ext uri="{FF2B5EF4-FFF2-40B4-BE49-F238E27FC236}">
                <a16:creationId xmlns:a16="http://schemas.microsoft.com/office/drawing/2014/main" id="{0A512878-E90D-FD4C-BF1B-60524CC23B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523CFD1-F369-4BE5-8BFE-76FCE5456D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789FC1CD-C028-4F9C-ADBA-8B9931B45A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D2810CC4-37DD-4098-B480-A9367D6C2BF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3C0B199-3580-12EA-90AC-115A79772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063411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endParaRPr lang="en-US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732B07F-2CC5-4AFD-AEB0-06354073000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F5B6785-6D72-4FCB-9B42-6D7D4CE6552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25519D16-C87C-4DB7-8AC8-CE4560100AA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7F2E112-A8EB-203E-5F7F-25495AD52E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6651370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r>
              <a:rPr lang="en-US"/>
              <a:t>Text can be added here</a:t>
            </a:r>
          </a:p>
          <a:p>
            <a:pPr lvl="0"/>
            <a:endParaRPr lang="en-US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0F41F2-36E9-49C8-88CE-4BE4E31BBD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B9982329-2D94-4C9E-80A2-B60425FE5B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EC480CA5-4037-4930-ACEF-576310198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97D2AA32-CAD9-34F9-6BAD-B6FD59EE9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63846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FAE49FF-242A-45A3-AF50-4663D88949EC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46AD78E1-3FC2-49B9-BC0F-3A87D92F9A73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8E67BCE4-3E9C-4177-9FDB-506EA4404C10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2F0A5EDD-2623-526B-D16B-AFA5FFB9A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4994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1150B54-8B30-4CF3-81B4-55565587177F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C34E2F94-D7F9-449A-8329-063D2B0D7984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C4F7D5E8-5C35-49FD-A9FA-C989D9E288B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90C4748A-FDAE-C921-4CA2-11D3D1583E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79648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7AD285B8-DCD3-4C11-8730-F670D4F997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FC97A0-FF74-4D62-ABE0-9BB86C1BB20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F0DDD8A7-A63E-491E-A58E-810590EBFCAD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106273C-FF85-4DD0-8687-948D360E08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148C781-6F93-4BFB-938E-FB5825C8BE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05473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11">
            <a:extLst>
              <a:ext uri="{FF2B5EF4-FFF2-40B4-BE49-F238E27FC236}">
                <a16:creationId xmlns:a16="http://schemas.microsoft.com/office/drawing/2014/main" id="{94695BA4-F4E2-44E1-9EF6-CAFFED6C7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09C1F70-7332-4609-BA73-9430AC8C191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CD01C6B-B607-47F6-BDA5-BC315A691CC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B28C9DD-E739-4186-A4EC-6E79682DEEF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78C7E8D9-CCCC-4294-A751-D4AADFAAF6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0C7AC2C0-91D7-42A6-A0F0-7561BD72337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398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1D11B7-4245-BE47-8DAA-CBB911A89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/>
              <a:t>A great headline can be added here</a:t>
            </a:r>
            <a:endParaRPr lang="en-DK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79E576-A32C-42EC-B32E-F003545F25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666EB08-6077-4815-906F-DEABE3FBB8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BC3DC546-8A34-414C-9C96-6CCFCDD1D1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5304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49E3B8-80F5-4815-A0F3-C7D9EBE626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9E49C5DE-5ACE-48C7-9D6C-ADD429F122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598B244B-020B-4596-AE32-A93E2D0F825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C998380F-D6BF-42B5-8C24-51EEDB4515E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5306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44774B15-AD94-438A-9D80-51870A479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8347768-67F1-487F-96AB-5634D7D78AB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63B8B919-091F-4DB8-9DEE-C5546B5D0A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B4DBE4C-7B14-49D2-8512-1BA8CC078C2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88744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60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1AC9011A-EA49-4EF4-891F-54F47747D1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008000"/>
            <a:ext cx="3910426" cy="330953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46AA901C-C086-4BC8-BF2C-5A09D7AF81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4CE8386-63A6-4DFC-A51F-2656AB801DA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216C05-6699-45A5-8F36-94F1367F050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709BEE5-EB0A-4D13-8129-1A7F65E6DFF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90102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7AD285B8-DCD3-4C11-8730-F670D4F997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FC97A0-FF74-4D62-ABE0-9BB86C1BB20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106273C-FF85-4DD0-8687-948D360E08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148C781-6F93-4BFB-938E-FB5825C8BE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20099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BA96C4D4-4F55-4182-BB94-4A5440C95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9DF3AEC-B398-4153-974C-30AA84011A5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1ECA2B-B20A-4C94-8C39-3F3705AE4F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7254AF5-89F4-48D3-9F93-637306EF36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86374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5180E6FC-6D7A-4DBD-A7E5-04BDEB531E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2F16ECC-0A5E-4874-808C-A4C55881999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9155653-7F48-4102-B322-FA041C5F93E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F19CF60-CE38-47D5-8E43-B4054C71C1B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25052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B16EF848-59E3-48CD-8A27-50B0A05D58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6BE522A-3991-43C3-8E48-343CB14CB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046E343-7720-4359-96AA-198BE2AA0C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6FE35C12-B923-4323-92F9-3D5A6CC6F0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6368E18-DDF3-4305-9E8C-96C4E70365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9170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E7BEB8E-2CC7-4BB7-987B-D3D416FA8F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1C5E7902-0C19-4283-8E8C-98003277A9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C2450F3-37A2-4B6B-95C3-B48BD629372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1E1F787-4C4B-420E-8655-4D849287C78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AF7A8A9-AD3B-4296-8D0F-692B6FD0C26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416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BA96C4D4-4F55-4182-BB94-4A5440C95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9DF3AEC-B398-4153-974C-30AA84011A5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20A8140-0CBC-4C9B-A574-225959154391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1ECA2B-B20A-4C94-8C39-3F3705AE4F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7254AF5-89F4-48D3-9F93-637306EF36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5388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3A8B920A-7BAF-436F-AFBA-E198FB3558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A9A9638F-A7CD-4998-8F9E-101F2E5767D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B315A29-46EE-47CB-BAAF-AB6BC933D9E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A9C6F44-9F71-4EB4-A27B-BF70FE6E0A5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A52BB59-AABE-4887-95C1-AF7BEAE9AD6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88741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147FD170-1F40-4981-B3EC-05B76A4395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6C9B1DD-0CA1-485A-A461-747AADD4F4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D1BDE6-CD80-40DB-AB5C-59E3B9234F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D5C73C5-53C8-4B48-B5B3-75678C2B1F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93058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9BEACCDE-0177-4AFC-B161-E7386289D802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061BFE70-C038-451A-9B86-F7D04289DB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4D74263-2655-461B-AED2-60765702B71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90DC1089-8FB1-42F7-92E9-494D9F2478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8C47BB1D-4B98-49E6-8A92-5E7A0D0F4F1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6658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EE58B34F-0D9C-4729-81EE-F746C4CB42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115056-4718-9A44-B89C-A6D834055971}"/>
              </a:ext>
            </a:extLst>
          </p:cNvPr>
          <p:cNvSpPr/>
          <p:nvPr userDrawn="1"/>
        </p:nvSpPr>
        <p:spPr>
          <a:xfrm>
            <a:off x="637447" y="2567246"/>
            <a:ext cx="2521884" cy="1001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>
                <a:solidFill>
                  <a:schemeClr val="bg1"/>
                </a:solidFill>
              </a:rPr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>
              <a:solidFill>
                <a:schemeClr val="bg1"/>
              </a:solidFill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C66FBDAA-C322-A641-8984-29E83F2F7C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DAC4452A-E1EF-CB45-A7A3-FF2BF4EF4E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81FD486-D4FB-2E44-A1C4-15BAEEC870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D4650728-4504-F644-91B1-AEF9AD8822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4C8C77F-EB42-2842-95C0-8883909BAD8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313A644E-4C6D-0843-9AA7-9E88C64622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0EAD97E-E36B-4DB0-B85A-B8CC18D93691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FB7A21F-9F01-4BFC-85D5-0CBC97E3014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67F2468-5F88-45DD-BAC2-6D33CC707D2C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5613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1A12C3C-F5BE-4117-9FA3-73E42BDEC9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FEA95305-50D9-7640-9DB6-513C9ADB96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912E4C15-BD18-5441-97D0-5FB379FA59E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480A5579-23C2-164A-BF57-F0D3A63BDF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C1A7BC86-D16F-0946-BD7F-4E656EF9AD0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9C1B5AC-23D0-DC47-96AC-F6697EA473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8C8F20E2-B699-004D-BB4C-C5A223D13F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6B151EE-4D85-5A45-A3B7-BEAFF3A8E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</a:t>
            </a:r>
            <a:endParaRPr lang="en-DK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B3AAE2-75A5-134F-805F-06A18734F8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6C76846-4A47-4F96-9BAA-982B5D0D3741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C4F9628A-E254-4B84-B360-5F221DD677A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DD8295-5234-4416-BD7D-F75F00CBF8A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79401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dsholder til tekst 34">
            <a:extLst>
              <a:ext uri="{FF2B5EF4-FFF2-40B4-BE49-F238E27FC236}">
                <a16:creationId xmlns:a16="http://schemas.microsoft.com/office/drawing/2014/main" id="{BD953F8C-BC52-4C95-8462-14790A2BF7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Headline</a:t>
            </a:r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6567F53C-B6C7-4B4C-B4F2-255ED75E8D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</p:txBody>
      </p:sp>
      <p:sp>
        <p:nvSpPr>
          <p:cNvPr id="37" name="Pladsholder til tekst 36">
            <a:extLst>
              <a:ext uri="{FF2B5EF4-FFF2-40B4-BE49-F238E27FC236}">
                <a16:creationId xmlns:a16="http://schemas.microsoft.com/office/drawing/2014/main" id="{007027D8-ED06-4C3D-86F8-8344ADA2EE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</p:txBody>
      </p:sp>
      <p:sp>
        <p:nvSpPr>
          <p:cNvPr id="38" name="Pladsholder til tekst 37">
            <a:extLst>
              <a:ext uri="{FF2B5EF4-FFF2-40B4-BE49-F238E27FC236}">
                <a16:creationId xmlns:a16="http://schemas.microsoft.com/office/drawing/2014/main" id="{228534C3-0728-4FC8-AD17-216CE7B45B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</p:txBody>
      </p:sp>
      <p:sp>
        <p:nvSpPr>
          <p:cNvPr id="39" name="Pladsholder til tekst 38">
            <a:extLst>
              <a:ext uri="{FF2B5EF4-FFF2-40B4-BE49-F238E27FC236}">
                <a16:creationId xmlns:a16="http://schemas.microsoft.com/office/drawing/2014/main" id="{C78580A6-1AEA-4A8B-8235-C2D0F553FA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err="1"/>
              <a:t>Theme</a:t>
            </a:r>
            <a:endParaRPr lang="da-DK"/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3AC33686-78C1-49A0-9AFF-494B65C4789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" name="Pladsholder til tekst 16">
            <a:extLst>
              <a:ext uri="{FF2B5EF4-FFF2-40B4-BE49-F238E27FC236}">
                <a16:creationId xmlns:a16="http://schemas.microsoft.com/office/drawing/2014/main" id="{2E748A6D-4C26-7B43-A555-3671513C9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:a16="http://schemas.microsoft.com/office/drawing/2014/main" id="{2BDC2B01-E6EE-264E-9202-5F0FEAAE1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24" name="Pladsholder til tekst 16">
            <a:extLst>
              <a:ext uri="{FF2B5EF4-FFF2-40B4-BE49-F238E27FC236}">
                <a16:creationId xmlns:a16="http://schemas.microsoft.com/office/drawing/2014/main" id="{5FF21945-6C30-3446-BCF9-312952711A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:a16="http://schemas.microsoft.com/office/drawing/2014/main" id="{E40E8ECB-EC63-4143-B73E-6F5E8A48C6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26" name="Pladsholder til tekst 16">
            <a:extLst>
              <a:ext uri="{FF2B5EF4-FFF2-40B4-BE49-F238E27FC236}">
                <a16:creationId xmlns:a16="http://schemas.microsoft.com/office/drawing/2014/main" id="{D315B7C5-A3C7-3648-B050-32B2279EEE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>
                <a:latin typeface="+mj-lt"/>
              </a:rPr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AB1014-159D-413B-91FA-A4659CA35A64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9D7C352-5F4E-43F1-A9EF-07BA585FAAD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EB433BB-15E9-4A31-A2DE-A0C8EE4B4FCA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2180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5BE537D-BCDB-4442-9DE4-E1065292E1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613379"/>
            <a:ext cx="6295817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Write “Thank you for listening” here</a:t>
            </a:r>
          </a:p>
        </p:txBody>
      </p:sp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9537732D-1587-424B-A302-1DCEF3DD7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 and last 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Phone</a:t>
            </a:r>
          </a:p>
          <a:p>
            <a:pPr lvl="0"/>
            <a:r>
              <a:rPr lang="en-US"/>
              <a:t>Mail</a:t>
            </a:r>
          </a:p>
          <a:p>
            <a:pPr lvl="0"/>
            <a:r>
              <a:rPr lang="en-US" err="1"/>
              <a:t>Kamstrup</a:t>
            </a:r>
            <a:r>
              <a:rPr lang="en-US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9B0D9CB7-59FE-49F8-A31D-1109F711F9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9C65192-2C0C-4034-80B0-257ECF5207D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BC94BC5-F225-40EC-A1CE-DBBA30F4EE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49906B8-6B39-41E6-8DB8-47E2685B82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434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2" name="Pladsholder til tekst 16">
            <a:extLst>
              <a:ext uri="{FF2B5EF4-FFF2-40B4-BE49-F238E27FC236}">
                <a16:creationId xmlns:a16="http://schemas.microsoft.com/office/drawing/2014/main" id="{FBBD9D14-CEB6-4A31-8A69-5024033E1A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 and last name</a:t>
            </a:r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Phone</a:t>
            </a:r>
          </a:p>
          <a:p>
            <a:pPr lvl="0"/>
            <a:r>
              <a:rPr lang="en-US"/>
              <a:t>Mail</a:t>
            </a:r>
          </a:p>
          <a:p>
            <a:pPr lvl="0"/>
            <a:r>
              <a:rPr lang="en-US" err="1"/>
              <a:t>Kamstrup</a:t>
            </a:r>
            <a:r>
              <a:rPr lang="en-US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2B811EE3-BC7D-4C01-852D-5CB63F5ADE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4EA9841-D39E-4EBE-BF9A-FF34DC46E59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00E0188-6411-4E24-B2B5-9D7BEE9553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A1463B8-06B0-4238-B8F5-3A5F7012A5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EE3C96B6-3D3A-9BCB-949C-B781E8405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613379"/>
            <a:ext cx="6295817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/>
              <a:t>Write “Thank you for listening” here</a:t>
            </a:r>
          </a:p>
        </p:txBody>
      </p:sp>
    </p:spTree>
    <p:extLst>
      <p:ext uri="{BB962C8B-B14F-4D97-AF65-F5344CB8AC3E}">
        <p14:creationId xmlns:p14="http://schemas.microsoft.com/office/powerpoint/2010/main" val="162679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831601"/>
            <a:ext cx="6773706" cy="3738693"/>
          </a:xfrm>
        </p:spPr>
        <p:txBody>
          <a:bodyPr/>
          <a:lstStyle>
            <a:lvl1pPr>
              <a:defRPr b="1"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da-DK"/>
              <a:t>&lt;DD Month YYYY&gt;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&lt;Footer&gt;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F3B3A-7EEA-5E44-8ED8-372942253657}" type="slidenum">
              <a:rPr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13858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065212"/>
            <a:ext cx="3886200" cy="7350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943100"/>
            <a:ext cx="3200400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143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600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46194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5180E6FC-6D7A-4DBD-A7E5-04BDEB531E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2F16ECC-0A5E-4874-808C-A4C55881999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8CC61152-2D96-4994-8CF0-FD0A6A72740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9155653-7F48-4102-B322-FA041C5F93E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F19CF60-CE38-47D5-8E43-B4054C71C1B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7313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0893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157" y="2203450"/>
            <a:ext cx="3886200" cy="681038"/>
          </a:xfr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57" y="1453357"/>
            <a:ext cx="3886200" cy="750094"/>
          </a:xfrm>
        </p:spPr>
        <p:txBody>
          <a:bodyPr anchor="b"/>
          <a:lstStyle>
            <a:lvl1pPr marL="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1pPr>
            <a:lvl2pPr marL="2286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2pPr>
            <a:lvl3pPr marL="45720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3pPr>
            <a:lvl4pPr marL="685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4pPr>
            <a:lvl5pPr marL="9144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5pPr>
            <a:lvl6pPr marL="11430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6pPr>
            <a:lvl7pPr marL="13716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7pPr>
            <a:lvl8pPr marL="16002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8pPr>
            <a:lvl9pPr marL="182880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41962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800100"/>
            <a:ext cx="2019300" cy="2262982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324100" y="800100"/>
            <a:ext cx="2019300" cy="2262982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0921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767556"/>
            <a:ext cx="2020094" cy="319881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087438"/>
            <a:ext cx="2020094" cy="1975644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322513" y="767556"/>
            <a:ext cx="2020888" cy="319881"/>
          </a:xfrm>
        </p:spPr>
        <p:txBody>
          <a:bodyPr anchor="b"/>
          <a:lstStyle>
            <a:lvl1pPr marL="0" indent="0">
              <a:buNone/>
              <a:defRPr sz="12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322513" y="1087438"/>
            <a:ext cx="2020888" cy="1975644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7682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2235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54984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6525"/>
            <a:ext cx="1504157" cy="581025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7525" y="136525"/>
            <a:ext cx="2555875" cy="292655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0" y="717550"/>
            <a:ext cx="1504157" cy="2345532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3091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144" y="2400300"/>
            <a:ext cx="2743200" cy="283369"/>
          </a:xfrm>
        </p:spPr>
        <p:txBody>
          <a:bodyPr anchor="b"/>
          <a:lstStyle>
            <a:lvl1pPr algn="l">
              <a:defRPr sz="1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96144" y="306388"/>
            <a:ext cx="2743200" cy="2057400"/>
          </a:xfrm>
        </p:spPr>
        <p:txBody>
          <a:bodyPr/>
          <a:lstStyle>
            <a:lvl1pPr marL="0" indent="0">
              <a:buNone/>
              <a:defRPr sz="1600"/>
            </a:lvl1pPr>
            <a:lvl2pPr marL="228600" indent="0">
              <a:buNone/>
              <a:defRPr sz="1400"/>
            </a:lvl2pPr>
            <a:lvl3pPr marL="457200" indent="0">
              <a:buNone/>
              <a:defRPr sz="12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  <a:lvl6pPr marL="1143000" indent="0">
              <a:buNone/>
              <a:defRPr sz="1000"/>
            </a:lvl6pPr>
            <a:lvl7pPr marL="1371600" indent="0">
              <a:buNone/>
              <a:defRPr sz="1000"/>
            </a:lvl7pPr>
            <a:lvl8pPr marL="1600200" indent="0">
              <a:buNone/>
              <a:defRPr sz="1000"/>
            </a:lvl8pPr>
            <a:lvl9pPr marL="1828800" indent="0">
              <a:buNone/>
              <a:defRPr sz="1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144" y="2683669"/>
            <a:ext cx="2743200" cy="402431"/>
          </a:xfrm>
        </p:spPr>
        <p:txBody>
          <a:bodyPr/>
          <a:lstStyle>
            <a:lvl1pPr marL="0" indent="0">
              <a:buNone/>
              <a:defRPr sz="700"/>
            </a:lvl1pPr>
            <a:lvl2pPr marL="228600" indent="0">
              <a:buNone/>
              <a:defRPr sz="600"/>
            </a:lvl2pPr>
            <a:lvl3pPr marL="457200" indent="0">
              <a:buNone/>
              <a:defRPr sz="500"/>
            </a:lvl3pPr>
            <a:lvl4pPr marL="685800" indent="0">
              <a:buNone/>
              <a:defRPr sz="450"/>
            </a:lvl4pPr>
            <a:lvl5pPr marL="914400" indent="0">
              <a:buNone/>
              <a:defRPr sz="450"/>
            </a:lvl5pPr>
            <a:lvl6pPr marL="1143000" indent="0">
              <a:buNone/>
              <a:defRPr sz="450"/>
            </a:lvl6pPr>
            <a:lvl7pPr marL="1371600" indent="0">
              <a:buNone/>
              <a:defRPr sz="450"/>
            </a:lvl7pPr>
            <a:lvl8pPr marL="1600200" indent="0">
              <a:buNone/>
              <a:defRPr sz="450"/>
            </a:lvl8pPr>
            <a:lvl9pPr marL="1828800" indent="0">
              <a:buNone/>
              <a:defRPr sz="4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76726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33499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314700" y="137319"/>
            <a:ext cx="1028700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137319"/>
            <a:ext cx="3009900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469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B16EF848-59E3-48CD-8A27-50B0A05D58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6BE522A-3991-43C3-8E48-343CB14CB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046E343-7720-4359-96AA-198BE2AA0C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04EAA234-B371-417C-9D37-2834EB2CB13B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6FE35C12-B923-4323-92F9-3D5A6CC6F0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6368E18-DDF3-4305-9E8C-96C4E70365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71223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C7094B27-9636-475F-BFF1-4505752266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7BF99E7-8E13-49EE-B157-76F8A6477EE1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A54C769-2A75-CA42-A6CC-58C1ED6C83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dirty="0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940263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baseline="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16DA611-9CD3-4367-827B-032B6C1C4A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9586A78-B9C9-4DE5-AD9A-8FF191B33E20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1D60672F-65BB-4FBF-B4E6-75615ABEB5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C822FFC-45AC-4A54-A746-0E5E985DD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790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2249EC9-7A8B-4EBB-83B2-2BB8BCB24CC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FDCCC15-1C18-4D5C-9451-7EC34EAEFD75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2BFE2FA-E4CE-4E70-ACBC-366ABF50B7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D73F2CD-401A-4CFE-BE55-7228051075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0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00656AAE-866E-4F97-9F52-CA9B6E32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4F16E12-2F8B-4819-92EC-8B3233EB08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0B4BE46-0BF6-42C7-B92D-83065034DFF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E90DB420-6BC8-4356-88A7-186DA977FCFB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5731F026-D308-4296-A2D5-8A8A7BCB583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9A346B98-9570-48D7-B7AA-C2B247360BE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788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6E97C351-2560-F141-8560-11E36661F4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rIns="108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4FD4C7B-27B2-5E4F-B99C-C08203F92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14" name="Pladsholder til tekst 27">
            <a:extLst>
              <a:ext uri="{FF2B5EF4-FFF2-40B4-BE49-F238E27FC236}">
                <a16:creationId xmlns:a16="http://schemas.microsoft.com/office/drawing/2014/main" id="{0A512878-E90D-FD4C-BF1B-60524CC23B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523CFD1-F369-4BE5-8BFE-76FCE5456D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9F7D02-E0ED-4064-A9A7-0C4014C3F1FD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789FC1CD-C028-4F9C-ADBA-8B9931B45A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D2810CC4-37DD-4098-B480-A9367D6C2BF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60278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FC3A4E5-D727-9C45-ABDE-C7DE64355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732B07F-2CC5-4AFD-AEB0-06354073000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D955B9B-79CF-453B-B627-8C3DAEB1C656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F5B6785-6D72-4FCB-9B42-6D7D4CE6552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25519D16-C87C-4DB7-8AC8-CE4560100AA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52350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8E672BA-F765-2843-9380-B4FA84CEB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0F41F2-36E9-49C8-88CE-4BE4E31BBD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064D111-E763-4E08-AD44-044DE2DBD85F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B9982329-2D94-4C9E-80A2-B60425FE5B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EC480CA5-4037-4930-ACEF-576310198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9576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493BED7A-1F77-5F4F-BB15-69C469BCB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FAE49FF-242A-45A3-AF50-4663D88949EC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85C2117F-D475-476A-8D4F-96016FED1B65}" type="datetime1">
              <a:rPr lang="en-US" smtClean="0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46AD78E1-3FC2-49B9-BC0F-3A87D92F9A73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8E67BCE4-3E9C-4177-9FDB-506EA4404C10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6609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477443-7C71-1B46-98BA-149F04FD4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1150B54-8B30-4CF3-81B4-55565587177F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21F051CF-F6DC-4659-8C99-7EBED30E6DC7}" type="datetime1">
              <a:rPr lang="en-US" smtClean="0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C34E2F94-D7F9-449A-8329-063D2B0D7984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C4F7D5E8-5C35-49FD-A9FA-C989D9E288B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904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11">
            <a:extLst>
              <a:ext uri="{FF2B5EF4-FFF2-40B4-BE49-F238E27FC236}">
                <a16:creationId xmlns:a16="http://schemas.microsoft.com/office/drawing/2014/main" id="{94695BA4-F4E2-44E1-9EF6-CAFFED6C7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09C1F70-7332-4609-BA73-9430AC8C191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CCD01C6B-B607-47F6-BDA5-BC315A691CC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B28C9DD-E739-4186-A4EC-6E79682DEEF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C92E5BD-6C5E-4881-B248-4272D45895ED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78C7E8D9-CCCC-4294-A751-D4AADFAAF6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0C7AC2C0-91D7-42A6-A0F0-7561BD72337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086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E7BEB8E-2CC7-4BB7-987B-D3D416FA8F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1C5E7902-0C19-4283-8E8C-98003277A9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C2450F3-37A2-4B6B-95C3-B48BD629372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BBA7C7AA-8E00-4545-AAB0-CD82019F46A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1E1F787-4C4B-420E-8655-4D849287C78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AF7A8A9-AD3B-4296-8D0F-692B6FD0C26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0300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1D11B7-4245-BE47-8DAA-CBB911A899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 dirty="0"/>
              <a:t>A great headline can be added here</a:t>
            </a:r>
            <a:endParaRPr lang="en-DK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79E576-A32C-42EC-B32E-F003545F25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99C4E94-F53A-492E-B785-70BBC59C4272}" type="datetime1">
              <a:rPr lang="en-US" smtClean="0"/>
              <a:t>10/15/2024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9666EB08-6077-4815-906F-DEABE3FBB8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BC3DC546-8A34-414C-9C96-6CCFCDD1D1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730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49E3B8-80F5-4815-A0F3-C7D9EBE626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9E49C5DE-5ACE-48C7-9D6C-ADD429F1229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CC757AFF-7EDA-4613-B328-5B60BB86E0F3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598B244B-020B-4596-AE32-A93E2D0F825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C998380F-D6BF-42B5-8C24-51EEDB4515E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4963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44774B15-AD94-438A-9D80-51870A479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8347768-67F1-487F-96AB-5634D7D78AB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D35507FC-A269-4F21-8977-C763FD0775C2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63B8B919-091F-4DB8-9DEE-C5546B5D0AB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B4DBE4C-7B14-49D2-8512-1BA8CC078C2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3119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60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1AC9011A-EA49-4EF4-891F-54F47747D12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008000"/>
            <a:ext cx="3910426" cy="330953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LOGO">
            <a:extLst>
              <a:ext uri="{FF2B5EF4-FFF2-40B4-BE49-F238E27FC236}">
                <a16:creationId xmlns:a16="http://schemas.microsoft.com/office/drawing/2014/main" id="{46AA901C-C086-4BC8-BF2C-5A09D7AF81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4CE8386-63A6-4DFC-A51F-2656AB801DA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0E139582-66A1-4812-AC40-9E20F2107A2B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216C05-6699-45A5-8F36-94F1367F050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709BEE5-EB0A-4D13-8129-1A7F65E6DFF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02520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7AD285B8-DCD3-4C11-8730-F670D4F997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FC97A0-FF74-4D62-ABE0-9BB86C1BB20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F0DDD8A7-A63E-491E-A58E-810590EBFCAD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106273C-FF85-4DD0-8687-948D360E08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148C781-6F93-4BFB-938E-FB5825C8BEF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54127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BA96C4D4-4F55-4182-BB94-4A5440C95F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9DF3AEC-B398-4153-974C-30AA84011A5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20A8140-0CBC-4C9B-A574-225959154391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1ECA2B-B20A-4C94-8C39-3F3705AE4F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7254AF5-89F4-48D3-9F93-637306EF36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08717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">
            <a:extLst>
              <a:ext uri="{FF2B5EF4-FFF2-40B4-BE49-F238E27FC236}">
                <a16:creationId xmlns:a16="http://schemas.microsoft.com/office/drawing/2014/main" id="{5180E6FC-6D7A-4DBD-A7E5-04BDEB531E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2F16ECC-0A5E-4874-808C-A4C55881999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8CC61152-2D96-4994-8CF0-FD0A6A72740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9155653-7F48-4102-B322-FA041C5F93E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F19CF60-CE38-47D5-8E43-B4054C71C1B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8540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B16EF848-59E3-48CD-8A27-50B0A05D58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6BE522A-3991-43C3-8E48-343CB14CB6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046E343-7720-4359-96AA-198BE2AA0C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04EAA234-B371-417C-9D37-2834EB2CB13B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6FE35C12-B923-4323-92F9-3D5A6CC6F0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6368E18-DDF3-4305-9E8C-96C4E703650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53893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E7BEB8E-2CC7-4BB7-987B-D3D416FA8F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1C5E7902-0C19-4283-8E8C-98003277A9C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C2450F3-37A2-4B6B-95C3-B48BD6293727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BBA7C7AA-8E00-4545-AAB0-CD82019F46A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1E1F787-4C4B-420E-8655-4D849287C78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AF7A8A9-AD3B-4296-8D0F-692B6FD0C26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01049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3A8B920A-7BAF-436F-AFBA-E198FB3558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A9A9638F-A7CD-4998-8F9E-101F2E5767D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B315A29-46EE-47CB-BAAF-AB6BC933D9E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D6E13371-4D2E-4B2E-BE50-F9D316EF1DA0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A9C6F44-9F71-4EB4-A27B-BF70FE6E0A5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A52BB59-AABE-4887-95C1-AF7BEAE9AD6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36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baseline="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16DA611-9CD3-4367-827B-032B6C1C4A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9586A78-B9C9-4DE5-AD9A-8FF191B33E20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1D60672F-65BB-4FBF-B4E6-75615ABEB5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C822FFC-45AC-4A54-A746-0E5E985DDC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84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dsholder til billede 2">
            <a:extLst>
              <a:ext uri="{FF2B5EF4-FFF2-40B4-BE49-F238E27FC236}">
                <a16:creationId xmlns:a16="http://schemas.microsoft.com/office/drawing/2014/main" id="{A4520766-1A0F-4DD5-9F7C-65B6C30C42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00F85236-2A2C-42CC-90A8-81CFD73E72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8640134D-B55E-4FA3-A6F2-DFFE60EA628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3A8B920A-7BAF-436F-AFBA-E198FB3558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A9A9638F-A7CD-4998-8F9E-101F2E5767D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B315A29-46EE-47CB-BAAF-AB6BC933D9E5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D6E13371-4D2E-4B2E-BE50-F9D316EF1DA0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A9C6F44-9F71-4EB4-A27B-BF70FE6E0A5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A52BB59-AABE-4887-95C1-AF7BEAE9AD6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04525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147FD170-1F40-4981-B3EC-05B76A4395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6C9B1DD-0CA1-485A-A461-747AADD4F4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60E87F4-C49A-4B95-9B3C-C2C2E13E4043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D1BDE6-CD80-40DB-AB5C-59E3B9234F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D5C73C5-53C8-4B48-B5B3-75678C2B1F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3595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9BEACCDE-0177-4AFC-B161-E7386289D802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061BFE70-C038-451A-9B86-F7D04289DB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4D74263-2655-461B-AED2-60765702B71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479B0047-70C1-47FE-A689-AE8B959493AB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90DC1089-8FB1-42F7-92E9-494D9F2478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8C47BB1D-4B98-49E6-8A92-5E7A0D0F4F1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18000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EE58B34F-0D9C-4729-81EE-F746C4CB42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115056-4718-9A44-B89C-A6D834055971}"/>
              </a:ext>
            </a:extLst>
          </p:cNvPr>
          <p:cNvSpPr/>
          <p:nvPr userDrawn="1"/>
        </p:nvSpPr>
        <p:spPr>
          <a:xfrm>
            <a:off x="637447" y="2567246"/>
            <a:ext cx="2521884" cy="1001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>
              <a:solidFill>
                <a:schemeClr val="bg1"/>
              </a:solidFill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C66FBDAA-C322-A641-8984-29E83F2F7C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DAC4452A-E1EF-CB45-A7A3-FF2BF4EF4E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81FD486-D4FB-2E44-A1C4-15BAEEC870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D4650728-4504-F644-91B1-AEF9AD8822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4C8C77F-EB42-2842-95C0-8883909BAD8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313A644E-4C6D-0843-9AA7-9E88C64622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0EAD97E-E36B-4DB0-B85A-B8CC18D93691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CBB915F4-7AF8-41DF-A5E6-09E3833041F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FB7A21F-9F01-4BFC-85D5-0CBC97E3014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67F2468-5F88-45DD-BAC2-6D33CC707D2C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40196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1A12C3C-F5BE-4117-9FA3-73E42BDEC9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FEA95305-50D9-7640-9DB6-513C9ADB96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912E4C15-BD18-5441-97D0-5FB379FA59E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480A5579-23C2-164A-BF57-F0D3A63BDF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C1A7BC86-D16F-0946-BD7F-4E656EF9AD0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9C1B5AC-23D0-DC47-96AC-F6697EA473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8C8F20E2-B699-004D-BB4C-C5A223D13F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6B151EE-4D85-5A45-A3B7-BEAFF3A8E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B3AAE2-75A5-134F-805F-06A18734F8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6C76846-4A47-4F96-9BAA-982B5D0D3741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46529B2A-F3BA-407D-8A25-72C11D42E52D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C4F9628A-E254-4B84-B360-5F221DD677A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DD8295-5234-4416-BD7D-F75F00CBF8A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63459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dsholder til tekst 34">
            <a:extLst>
              <a:ext uri="{FF2B5EF4-FFF2-40B4-BE49-F238E27FC236}">
                <a16:creationId xmlns:a16="http://schemas.microsoft.com/office/drawing/2014/main" id="{BD953F8C-BC52-4C95-8462-14790A2BF7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6567F53C-B6C7-4B4C-B4F2-255ED75E8D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7" name="Pladsholder til tekst 36">
            <a:extLst>
              <a:ext uri="{FF2B5EF4-FFF2-40B4-BE49-F238E27FC236}">
                <a16:creationId xmlns:a16="http://schemas.microsoft.com/office/drawing/2014/main" id="{007027D8-ED06-4C3D-86F8-8344ADA2EE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8" name="Pladsholder til tekst 37">
            <a:extLst>
              <a:ext uri="{FF2B5EF4-FFF2-40B4-BE49-F238E27FC236}">
                <a16:creationId xmlns:a16="http://schemas.microsoft.com/office/drawing/2014/main" id="{228534C3-0728-4FC8-AD17-216CE7B45B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9" name="Pladsholder til tekst 38">
            <a:extLst>
              <a:ext uri="{FF2B5EF4-FFF2-40B4-BE49-F238E27FC236}">
                <a16:creationId xmlns:a16="http://schemas.microsoft.com/office/drawing/2014/main" id="{C78580A6-1AEA-4A8B-8235-C2D0F553FA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3AC33686-78C1-49A0-9AFF-494B65C4789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2" name="Pladsholder til tekst 16">
            <a:extLst>
              <a:ext uri="{FF2B5EF4-FFF2-40B4-BE49-F238E27FC236}">
                <a16:creationId xmlns:a16="http://schemas.microsoft.com/office/drawing/2014/main" id="{2E748A6D-4C26-7B43-A555-3671513C9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:a16="http://schemas.microsoft.com/office/drawing/2014/main" id="{2BDC2B01-E6EE-264E-9202-5F0FEAAE1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4" name="Pladsholder til tekst 16">
            <a:extLst>
              <a:ext uri="{FF2B5EF4-FFF2-40B4-BE49-F238E27FC236}">
                <a16:creationId xmlns:a16="http://schemas.microsoft.com/office/drawing/2014/main" id="{5FF21945-6C30-3446-BCF9-312952711A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:a16="http://schemas.microsoft.com/office/drawing/2014/main" id="{E40E8ECB-EC63-4143-B73E-6F5E8A48C6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6" name="Pladsholder til tekst 16">
            <a:extLst>
              <a:ext uri="{FF2B5EF4-FFF2-40B4-BE49-F238E27FC236}">
                <a16:creationId xmlns:a16="http://schemas.microsoft.com/office/drawing/2014/main" id="{D315B7C5-A3C7-3648-B050-32B2279EEE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AB1014-159D-413B-91FA-A4659CA35A64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CFE2C63B-2C1F-405E-89E4-57D672BFA514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9D7C352-5F4E-43F1-A9EF-07BA585FAAD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EB433BB-15E9-4A31-A2DE-A0C8EE4B4FCA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38811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5BE537D-BCDB-4442-9DE4-E1065292E1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Thank you for listening</a:t>
            </a:r>
          </a:p>
        </p:txBody>
      </p:sp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9537732D-1587-424B-A302-1DCEF3DD7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9B0D9CB7-59FE-49F8-A31D-1109F711F9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9C65192-2C0C-4034-80B0-257ECF5207D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EBB6C3D-00E1-4673-8B59-D5E034FFA333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BC94BC5-F225-40EC-A1CE-DBBA30F4EE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49906B8-6B39-41E6-8DB8-47E2685B82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739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for </a:t>
            </a:r>
            <a:r>
              <a:rPr lang="da-DK" dirty="0" err="1"/>
              <a:t>listening</a:t>
            </a:r>
            <a:endParaRPr lang="da-DK" dirty="0"/>
          </a:p>
        </p:txBody>
      </p:sp>
      <p:sp>
        <p:nvSpPr>
          <p:cNvPr id="12" name="Pladsholder til tekst 16">
            <a:extLst>
              <a:ext uri="{FF2B5EF4-FFF2-40B4-BE49-F238E27FC236}">
                <a16:creationId xmlns:a16="http://schemas.microsoft.com/office/drawing/2014/main" id="{FBBD9D14-CEB6-4A31-8A69-5024033E1A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2B811EE3-BC7D-4C01-852D-5CB63F5ADE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4EA9841-D39E-4EBE-BF9A-FF34DC46E59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F2FF121-22B0-4AE5-B471-5C7973A5D777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00E0188-6411-4E24-B2B5-9D7BEE9553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A1463B8-06B0-4238-B8F5-3A5F7012A5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840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Thank</a:t>
            </a:r>
            <a:r>
              <a:rPr lang="da-DK"/>
              <a:t> </a:t>
            </a:r>
            <a:r>
              <a:rPr lang="da-DK" err="1"/>
              <a:t>you</a:t>
            </a:r>
            <a:r>
              <a:rPr lang="da-DK"/>
              <a:t> for </a:t>
            </a:r>
            <a:r>
              <a:rPr lang="da-DK" err="1"/>
              <a:t>listening</a:t>
            </a:r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FF3B3A-7EEA-5E44-8ED8-372942253657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DF21E1EC-BE22-406A-91E3-0F6DFF7237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Name </a:t>
            </a:r>
            <a:r>
              <a:rPr lang="en-US" err="1"/>
              <a:t>Lastname</a:t>
            </a:r>
            <a:endParaRPr lang="en-US"/>
          </a:p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Phone</a:t>
            </a:r>
          </a:p>
          <a:p>
            <a:pPr lvl="0"/>
            <a:r>
              <a:rPr lang="en-US"/>
              <a:t>Mail</a:t>
            </a:r>
          </a:p>
          <a:p>
            <a:pPr lvl="0"/>
            <a:r>
              <a:rPr lang="en-US" err="1"/>
              <a:t>Kamstrup</a:t>
            </a:r>
            <a:r>
              <a:rPr lang="en-US"/>
              <a:t> A/S</a:t>
            </a:r>
          </a:p>
        </p:txBody>
      </p:sp>
      <p:sp>
        <p:nvSpPr>
          <p:cNvPr id="12" name="Pladsholder til billede 2">
            <a:extLst>
              <a:ext uri="{FF2B5EF4-FFF2-40B4-BE49-F238E27FC236}">
                <a16:creationId xmlns:a16="http://schemas.microsoft.com/office/drawing/2014/main" id="{179645CD-5315-4C8F-B7B2-5D10C9AB18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5" name="Pladsholder til tekst 16">
            <a:extLst>
              <a:ext uri="{FF2B5EF4-FFF2-40B4-BE49-F238E27FC236}">
                <a16:creationId xmlns:a16="http://schemas.microsoft.com/office/drawing/2014/main" id="{55083E27-EBBE-4DDE-BDA7-6F2C8D31A2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9126" y="4704900"/>
            <a:ext cx="2798619" cy="208800"/>
          </a:xfrm>
        </p:spPr>
        <p:txBody>
          <a:bodyPr>
            <a:noAutofit/>
          </a:bodyPr>
          <a:lstStyle>
            <a:lvl1pPr marL="0" indent="0" algn="r" defTabSz="457200" rtl="0" eaLnBrk="1" latinLnBrk="0" hangingPunct="1">
              <a:buNone/>
              <a:defRPr lang="da-DK" sz="8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Edit in master: public/Internal/Confidential/Strictly Confidentia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54864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tekst 16">
            <a:extLst>
              <a:ext uri="{FF2B5EF4-FFF2-40B4-BE49-F238E27FC236}">
                <a16:creationId xmlns:a16="http://schemas.microsoft.com/office/drawing/2014/main" id="{FE5D910B-E023-4441-9C8A-35373F251F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909" y="1164512"/>
            <a:ext cx="8654266" cy="3367383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 can be added her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792199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err="1"/>
              <a:t>Headline</a:t>
            </a:r>
            <a:endParaRPr lang="da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BA50A52-C39A-4058-9FF5-70B903030C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algn="r"/>
            <a:r>
              <a:rPr lang="da-DK"/>
              <a:t>&lt;DD Month YYYY&gt;</a:t>
            </a:r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C153C941-91AA-48A8-B7C0-11CCE63E4F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&lt;Footer&gt;</a:t>
            </a:r>
            <a:endParaRPr lang="en-GB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86579194-201F-4DA4-BEF9-93E100FC1B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EFF3B3A-7EEA-5E44-8ED8-37294225365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317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147FD170-1F40-4981-B3EC-05B76A4395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6C9B1DD-0CA1-485A-A461-747AADD4F4F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060E87F4-C49A-4B95-9B3C-C2C2E13E4043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D1BDE6-CD80-40DB-AB5C-59E3B9234F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D5C73C5-53C8-4B48-B5B3-75678C2B1F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038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9BEACCDE-0177-4AFC-B161-E7386289D802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49168E1-C449-4665-A343-795B2C545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19685C8-5C60-46EE-BADE-0CB5128CFC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061BFE70-C038-451A-9B86-F7D04289DB8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4D74263-2655-461B-AED2-60765702B71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479B0047-70C1-47FE-A689-AE8B959493AB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90DC1089-8FB1-42F7-92E9-494D9F2478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8C47BB1D-4B98-49E6-8A92-5E7A0D0F4F1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338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EE58B34F-0D9C-4729-81EE-F746C4CB42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F115056-4718-9A44-B89C-A6D834055971}"/>
              </a:ext>
            </a:extLst>
          </p:cNvPr>
          <p:cNvSpPr/>
          <p:nvPr userDrawn="1"/>
        </p:nvSpPr>
        <p:spPr>
          <a:xfrm>
            <a:off x="637447" y="2567246"/>
            <a:ext cx="2521884" cy="1001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>
              <a:solidFill>
                <a:schemeClr val="bg1"/>
              </a:solidFill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C66FBDAA-C322-A641-8984-29E83F2F7C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DAC4452A-E1EF-CB45-A7A3-FF2BF4EF4EE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81FD486-D4FB-2E44-A1C4-15BAEEC870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D4650728-4504-F644-91B1-AEF9AD8822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4C8C77F-EB42-2842-95C0-8883909BAD8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313A644E-4C6D-0843-9AA7-9E88C64622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0EAD97E-E36B-4DB0-B85A-B8CC18D93691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CBB915F4-7AF8-41DF-A5E6-09E3833041FA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FB7A21F-9F01-4BFC-85D5-0CBC97E3014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67F2468-5F88-45DD-BAC2-6D33CC707D2C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124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1A12C3C-F5BE-4117-9FA3-73E42BDEC9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FEA95305-50D9-7640-9DB6-513C9ADB96A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912E4C15-BD18-5441-97D0-5FB379FA59E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480A5579-23C2-164A-BF57-F0D3A63BDF7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C1A7BC86-D16F-0946-BD7F-4E656EF9AD0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D9C1B5AC-23D0-DC47-96AC-F6697EA473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8C8F20E2-B699-004D-BB4C-C5A223D13F9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66B151EE-4D85-5A45-A3B7-BEAFF3A8EFC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rgbClr val="009BA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0B3AAE2-75A5-134F-805F-06A18734F85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6C76846-4A47-4F96-9BAA-982B5D0D3741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46529B2A-F3BA-407D-8A25-72C11D42E52D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C4F9628A-E254-4B84-B360-5F221DD677A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4DD8295-5234-4416-BD7D-F75F00CBF8A9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5547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dsholder til tekst 34">
            <a:extLst>
              <a:ext uri="{FF2B5EF4-FFF2-40B4-BE49-F238E27FC236}">
                <a16:creationId xmlns:a16="http://schemas.microsoft.com/office/drawing/2014/main" id="{BD953F8C-BC52-4C95-8462-14790A2BF7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6" name="Pladsholder til tekst 35">
            <a:extLst>
              <a:ext uri="{FF2B5EF4-FFF2-40B4-BE49-F238E27FC236}">
                <a16:creationId xmlns:a16="http://schemas.microsoft.com/office/drawing/2014/main" id="{6567F53C-B6C7-4B4C-B4F2-255ED75E8D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7" name="Pladsholder til tekst 36">
            <a:extLst>
              <a:ext uri="{FF2B5EF4-FFF2-40B4-BE49-F238E27FC236}">
                <a16:creationId xmlns:a16="http://schemas.microsoft.com/office/drawing/2014/main" id="{007027D8-ED06-4C3D-86F8-8344ADA2EE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8" name="Pladsholder til tekst 37">
            <a:extLst>
              <a:ext uri="{FF2B5EF4-FFF2-40B4-BE49-F238E27FC236}">
                <a16:creationId xmlns:a16="http://schemas.microsoft.com/office/drawing/2014/main" id="{228534C3-0728-4FC8-AD17-216CE7B45B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9" name="Pladsholder til tekst 38">
            <a:extLst>
              <a:ext uri="{FF2B5EF4-FFF2-40B4-BE49-F238E27FC236}">
                <a16:creationId xmlns:a16="http://schemas.microsoft.com/office/drawing/2014/main" id="{C78580A6-1AEA-4A8B-8235-C2D0F553FA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3AC33686-78C1-49A0-9AFF-494B65C4789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2" name="Pladsholder til tekst 16">
            <a:extLst>
              <a:ext uri="{FF2B5EF4-FFF2-40B4-BE49-F238E27FC236}">
                <a16:creationId xmlns:a16="http://schemas.microsoft.com/office/drawing/2014/main" id="{2E748A6D-4C26-7B43-A555-3671513C94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:a16="http://schemas.microsoft.com/office/drawing/2014/main" id="{2BDC2B01-E6EE-264E-9202-5F0FEAAE17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4" name="Pladsholder til tekst 16">
            <a:extLst>
              <a:ext uri="{FF2B5EF4-FFF2-40B4-BE49-F238E27FC236}">
                <a16:creationId xmlns:a16="http://schemas.microsoft.com/office/drawing/2014/main" id="{5FF21945-6C30-3446-BCF9-312952711AF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:a16="http://schemas.microsoft.com/office/drawing/2014/main" id="{E40E8ECB-EC63-4143-B73E-6F5E8A48C6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6" name="Pladsholder til tekst 16">
            <a:extLst>
              <a:ext uri="{FF2B5EF4-FFF2-40B4-BE49-F238E27FC236}">
                <a16:creationId xmlns:a16="http://schemas.microsoft.com/office/drawing/2014/main" id="{D315B7C5-A3C7-3648-B050-32B2279EEE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AB1014-159D-413B-91FA-A4659CA35A64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CFE2C63B-2C1F-405E-89E4-57D672BFA514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9D7C352-5F4E-43F1-A9EF-07BA585FAAD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EB433BB-15E9-4A31-A2DE-A0C8EE4B4FCA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99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5BE537D-BCDB-4442-9DE4-E1065292E1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Thank you for listening</a:t>
            </a:r>
          </a:p>
        </p:txBody>
      </p:sp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9537732D-1587-424B-A302-1DCEF3DD78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9B0D9CB7-59FE-49F8-A31D-1109F711F9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9C65192-2C0C-4034-80B0-257ECF5207D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FEBB6C3D-00E1-4673-8B59-D5E034FFA333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BC94BC5-F225-40EC-A1CE-DBBA30F4EE2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49906B8-6B39-41E6-8DB8-47E2685B82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808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for </a:t>
            </a:r>
            <a:r>
              <a:rPr lang="da-DK" dirty="0" err="1"/>
              <a:t>listening</a:t>
            </a:r>
            <a:endParaRPr lang="da-DK" dirty="0"/>
          </a:p>
        </p:txBody>
      </p:sp>
      <p:sp>
        <p:nvSpPr>
          <p:cNvPr id="12" name="Pladsholder til tekst 16">
            <a:extLst>
              <a:ext uri="{FF2B5EF4-FFF2-40B4-BE49-F238E27FC236}">
                <a16:creationId xmlns:a16="http://schemas.microsoft.com/office/drawing/2014/main" id="{FBBD9D14-CEB6-4A31-8A69-5024033E1A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2B811EE3-BC7D-4C01-852D-5CB63F5ADE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4EA9841-D39E-4EBE-BF9A-FF34DC46E59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AF2FF121-22B0-4AE5-B471-5C7973A5D777}" type="datetime1">
              <a:rPr lang="en-US" smtClean="0"/>
              <a:t>10/15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00E0188-6411-4E24-B2B5-9D7BEE9553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A1463B8-06B0-4238-B8F5-3A5F7012A5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802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5906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17C617C-6A5D-4B91-B469-D01D9640F3A9}" type="datetime1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C523535-663A-4646-B84C-3FF77F34C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AA81C2D4-8702-CE4D-BB67-DF6FF5779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dirty="0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45952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2249EC9-7A8B-4EBB-83B2-2BB8BCB24CC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DFDCCC15-1C18-4D5C-9451-7EC34EAEFD75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32BFE2FA-E4CE-4E70-ACBC-366ABF50B7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D73F2CD-401A-4CFE-BE55-7228051075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48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328572B-DBB9-4D0E-B230-949559F20F6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484BF9A-9F76-4428-9467-65FCD54562F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809FFBD1-4958-413F-B6AC-D86DBAA6B7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6389FD99-315F-42C8-A71F-C1A7EAF646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928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9E5588D8-783B-C044-B1DB-7C3DA876B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3" name="Pladsholder til tekst 16">
            <a:extLst>
              <a:ext uri="{FF2B5EF4-FFF2-40B4-BE49-F238E27FC236}">
                <a16:creationId xmlns:a16="http://schemas.microsoft.com/office/drawing/2014/main" id="{4578CB40-67D0-4144-9890-506406FF8B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AD094F0-E016-4DA0-8886-6394B57896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E2DA461-0B44-461C-899C-FDD7EEC629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C69DBD1A-E9B0-5F94-72AA-F3F854059CE7}"/>
              </a:ext>
            </a:extLst>
          </p:cNvPr>
          <p:cNvSpPr txBox="1"/>
          <p:nvPr userDrawn="1"/>
        </p:nvSpPr>
        <p:spPr>
          <a:xfrm>
            <a:off x="8561841" y="4762643"/>
            <a:ext cx="338789" cy="78749"/>
          </a:xfrm>
          <a:custGeom>
            <a:avLst/>
            <a:gdLst/>
            <a:ahLst/>
            <a:cxnLst/>
            <a:rect l="l" t="t" r="r" b="b"/>
            <a:pathLst>
              <a:path w="338789" h="78749">
                <a:moveTo>
                  <a:pt x="294531" y="52853"/>
                </a:moveTo>
                <a:cubicBezTo>
                  <a:pt x="291852" y="52853"/>
                  <a:pt x="289508" y="53095"/>
                  <a:pt x="287499" y="53578"/>
                </a:cubicBezTo>
                <a:cubicBezTo>
                  <a:pt x="285490" y="54062"/>
                  <a:pt x="283815" y="54769"/>
                  <a:pt x="282476" y="55699"/>
                </a:cubicBezTo>
                <a:cubicBezTo>
                  <a:pt x="281136" y="56629"/>
                  <a:pt x="280141" y="57746"/>
                  <a:pt x="279490" y="59048"/>
                </a:cubicBezTo>
                <a:cubicBezTo>
                  <a:pt x="278839" y="60350"/>
                  <a:pt x="278513" y="61838"/>
                  <a:pt x="278513" y="63513"/>
                </a:cubicBezTo>
                <a:cubicBezTo>
                  <a:pt x="278513" y="66415"/>
                  <a:pt x="279434" y="68731"/>
                  <a:pt x="281276" y="70461"/>
                </a:cubicBezTo>
                <a:cubicBezTo>
                  <a:pt x="283118" y="72191"/>
                  <a:pt x="285713" y="73056"/>
                  <a:pt x="289062" y="73056"/>
                </a:cubicBezTo>
                <a:cubicBezTo>
                  <a:pt x="291703" y="73056"/>
                  <a:pt x="294168" y="72377"/>
                  <a:pt x="296456" y="71019"/>
                </a:cubicBezTo>
                <a:cubicBezTo>
                  <a:pt x="298745" y="69661"/>
                  <a:pt x="301172" y="67568"/>
                  <a:pt x="303740" y="64741"/>
                </a:cubicBezTo>
                <a:lnTo>
                  <a:pt x="303740" y="52853"/>
                </a:lnTo>
                <a:close/>
                <a:moveTo>
                  <a:pt x="142019" y="29803"/>
                </a:moveTo>
                <a:cubicBezTo>
                  <a:pt x="139489" y="29803"/>
                  <a:pt x="137266" y="30277"/>
                  <a:pt x="135350" y="31226"/>
                </a:cubicBezTo>
                <a:cubicBezTo>
                  <a:pt x="133434" y="32175"/>
                  <a:pt x="131815" y="33431"/>
                  <a:pt x="130495" y="34993"/>
                </a:cubicBezTo>
                <a:cubicBezTo>
                  <a:pt x="129174" y="36556"/>
                  <a:pt x="128160" y="38370"/>
                  <a:pt x="127453" y="40435"/>
                </a:cubicBezTo>
                <a:cubicBezTo>
                  <a:pt x="126746" y="42500"/>
                  <a:pt x="126337" y="44649"/>
                  <a:pt x="126225" y="46881"/>
                </a:cubicBezTo>
                <a:lnTo>
                  <a:pt x="156921" y="46881"/>
                </a:lnTo>
                <a:cubicBezTo>
                  <a:pt x="157032" y="41523"/>
                  <a:pt x="155805" y="37338"/>
                  <a:pt x="153237" y="34324"/>
                </a:cubicBezTo>
                <a:cubicBezTo>
                  <a:pt x="150670" y="31310"/>
                  <a:pt x="146931" y="29803"/>
                  <a:pt x="142019" y="29803"/>
                </a:cubicBezTo>
                <a:close/>
                <a:moveTo>
                  <a:pt x="291740" y="24110"/>
                </a:moveTo>
                <a:cubicBezTo>
                  <a:pt x="295201" y="24110"/>
                  <a:pt x="298122" y="24529"/>
                  <a:pt x="300503" y="25366"/>
                </a:cubicBezTo>
                <a:cubicBezTo>
                  <a:pt x="302884" y="26203"/>
                  <a:pt x="304809" y="27403"/>
                  <a:pt x="306279" y="28966"/>
                </a:cubicBezTo>
                <a:cubicBezTo>
                  <a:pt x="307749" y="30529"/>
                  <a:pt x="308800" y="32454"/>
                  <a:pt x="309432" y="34742"/>
                </a:cubicBezTo>
                <a:cubicBezTo>
                  <a:pt x="310065" y="37031"/>
                  <a:pt x="310381" y="39626"/>
                  <a:pt x="310381" y="42528"/>
                </a:cubicBezTo>
                <a:lnTo>
                  <a:pt x="310381" y="76684"/>
                </a:lnTo>
                <a:cubicBezTo>
                  <a:pt x="310381" y="77056"/>
                  <a:pt x="310260" y="77344"/>
                  <a:pt x="310018" y="77549"/>
                </a:cubicBezTo>
                <a:cubicBezTo>
                  <a:pt x="309777" y="77754"/>
                  <a:pt x="309460" y="77903"/>
                  <a:pt x="309070" y="77996"/>
                </a:cubicBezTo>
                <a:cubicBezTo>
                  <a:pt x="308679" y="78089"/>
                  <a:pt x="308149" y="78135"/>
                  <a:pt x="307479" y="78135"/>
                </a:cubicBezTo>
                <a:cubicBezTo>
                  <a:pt x="306847" y="78135"/>
                  <a:pt x="306307" y="78089"/>
                  <a:pt x="305861" y="77996"/>
                </a:cubicBezTo>
                <a:cubicBezTo>
                  <a:pt x="305414" y="77903"/>
                  <a:pt x="305070" y="77754"/>
                  <a:pt x="304828" y="77549"/>
                </a:cubicBezTo>
                <a:cubicBezTo>
                  <a:pt x="304586" y="77344"/>
                  <a:pt x="304465" y="77056"/>
                  <a:pt x="304465" y="76684"/>
                </a:cubicBezTo>
                <a:lnTo>
                  <a:pt x="304465" y="71047"/>
                </a:lnTo>
                <a:cubicBezTo>
                  <a:pt x="302196" y="73503"/>
                  <a:pt x="299694" y="75400"/>
                  <a:pt x="296959" y="76740"/>
                </a:cubicBezTo>
                <a:cubicBezTo>
                  <a:pt x="294224" y="78079"/>
                  <a:pt x="291387" y="78749"/>
                  <a:pt x="288448" y="78749"/>
                </a:cubicBezTo>
                <a:cubicBezTo>
                  <a:pt x="285806" y="78749"/>
                  <a:pt x="283434" y="78405"/>
                  <a:pt x="281332" y="77717"/>
                </a:cubicBezTo>
                <a:cubicBezTo>
                  <a:pt x="279230" y="77028"/>
                  <a:pt x="277453" y="76042"/>
                  <a:pt x="276002" y="74759"/>
                </a:cubicBezTo>
                <a:cubicBezTo>
                  <a:pt x="274551" y="73475"/>
                  <a:pt x="273435" y="71922"/>
                  <a:pt x="272653" y="70098"/>
                </a:cubicBezTo>
                <a:cubicBezTo>
                  <a:pt x="271872" y="68275"/>
                  <a:pt x="271481" y="66229"/>
                  <a:pt x="271481" y="63959"/>
                </a:cubicBezTo>
                <a:cubicBezTo>
                  <a:pt x="271481" y="61169"/>
                  <a:pt x="272058" y="58741"/>
                  <a:pt x="273211" y="56676"/>
                </a:cubicBezTo>
                <a:cubicBezTo>
                  <a:pt x="274365" y="54611"/>
                  <a:pt x="276002" y="52890"/>
                  <a:pt x="278123" y="51513"/>
                </a:cubicBezTo>
                <a:cubicBezTo>
                  <a:pt x="280244" y="50137"/>
                  <a:pt x="282792" y="49104"/>
                  <a:pt x="285769" y="48416"/>
                </a:cubicBezTo>
                <a:cubicBezTo>
                  <a:pt x="288745" y="47728"/>
                  <a:pt x="292057" y="47383"/>
                  <a:pt x="295703" y="47383"/>
                </a:cubicBezTo>
                <a:lnTo>
                  <a:pt x="303740" y="47383"/>
                </a:lnTo>
                <a:lnTo>
                  <a:pt x="303740" y="43030"/>
                </a:lnTo>
                <a:cubicBezTo>
                  <a:pt x="303740" y="40872"/>
                  <a:pt x="303517" y="38965"/>
                  <a:pt x="303070" y="37310"/>
                </a:cubicBezTo>
                <a:cubicBezTo>
                  <a:pt x="302624" y="35654"/>
                  <a:pt x="301898" y="34268"/>
                  <a:pt x="300893" y="33152"/>
                </a:cubicBezTo>
                <a:cubicBezTo>
                  <a:pt x="299889" y="32035"/>
                  <a:pt x="298587" y="31198"/>
                  <a:pt x="296987" y="30640"/>
                </a:cubicBezTo>
                <a:cubicBezTo>
                  <a:pt x="295387" y="30082"/>
                  <a:pt x="293433" y="29803"/>
                  <a:pt x="291127" y="29803"/>
                </a:cubicBezTo>
                <a:cubicBezTo>
                  <a:pt x="288894" y="29803"/>
                  <a:pt x="286885" y="30073"/>
                  <a:pt x="285099" y="30612"/>
                </a:cubicBezTo>
                <a:cubicBezTo>
                  <a:pt x="283313" y="31152"/>
                  <a:pt x="281750" y="31756"/>
                  <a:pt x="280411" y="32426"/>
                </a:cubicBezTo>
                <a:cubicBezTo>
                  <a:pt x="279072" y="33096"/>
                  <a:pt x="277965" y="33700"/>
                  <a:pt x="277090" y="34240"/>
                </a:cubicBezTo>
                <a:cubicBezTo>
                  <a:pt x="276216" y="34780"/>
                  <a:pt x="275593" y="35049"/>
                  <a:pt x="275221" y="35049"/>
                </a:cubicBezTo>
                <a:cubicBezTo>
                  <a:pt x="274997" y="35049"/>
                  <a:pt x="274793" y="35012"/>
                  <a:pt x="274607" y="34938"/>
                </a:cubicBezTo>
                <a:cubicBezTo>
                  <a:pt x="274421" y="34863"/>
                  <a:pt x="274262" y="34724"/>
                  <a:pt x="274132" y="34519"/>
                </a:cubicBezTo>
                <a:cubicBezTo>
                  <a:pt x="274002" y="34314"/>
                  <a:pt x="273909" y="34054"/>
                  <a:pt x="273853" y="33738"/>
                </a:cubicBezTo>
                <a:cubicBezTo>
                  <a:pt x="273797" y="33421"/>
                  <a:pt x="273770" y="33040"/>
                  <a:pt x="273770" y="32594"/>
                </a:cubicBezTo>
                <a:cubicBezTo>
                  <a:pt x="273770" y="31812"/>
                  <a:pt x="273825" y="31189"/>
                  <a:pt x="273937" y="30724"/>
                </a:cubicBezTo>
                <a:cubicBezTo>
                  <a:pt x="274049" y="30259"/>
                  <a:pt x="274337" y="29794"/>
                  <a:pt x="274802" y="29329"/>
                </a:cubicBezTo>
                <a:cubicBezTo>
                  <a:pt x="275267" y="28864"/>
                  <a:pt x="276095" y="28315"/>
                  <a:pt x="277286" y="27682"/>
                </a:cubicBezTo>
                <a:cubicBezTo>
                  <a:pt x="278476" y="27050"/>
                  <a:pt x="279844" y="26464"/>
                  <a:pt x="281388" y="25924"/>
                </a:cubicBezTo>
                <a:cubicBezTo>
                  <a:pt x="282932" y="25385"/>
                  <a:pt x="284597" y="24948"/>
                  <a:pt x="286383" y="24613"/>
                </a:cubicBezTo>
                <a:cubicBezTo>
                  <a:pt x="288169" y="24278"/>
                  <a:pt x="289955" y="24110"/>
                  <a:pt x="291740" y="24110"/>
                </a:cubicBezTo>
                <a:close/>
                <a:moveTo>
                  <a:pt x="241009" y="24110"/>
                </a:moveTo>
                <a:cubicBezTo>
                  <a:pt x="244320" y="24110"/>
                  <a:pt x="247111" y="24668"/>
                  <a:pt x="249380" y="25785"/>
                </a:cubicBezTo>
                <a:cubicBezTo>
                  <a:pt x="251650" y="26901"/>
                  <a:pt x="253482" y="28408"/>
                  <a:pt x="254878" y="30305"/>
                </a:cubicBezTo>
                <a:cubicBezTo>
                  <a:pt x="256273" y="32203"/>
                  <a:pt x="257278" y="34417"/>
                  <a:pt x="257891" y="36947"/>
                </a:cubicBezTo>
                <a:cubicBezTo>
                  <a:pt x="258505" y="39477"/>
                  <a:pt x="258812" y="42528"/>
                  <a:pt x="258812" y="46100"/>
                </a:cubicBezTo>
                <a:lnTo>
                  <a:pt x="258812" y="76684"/>
                </a:lnTo>
                <a:cubicBezTo>
                  <a:pt x="258812" y="76907"/>
                  <a:pt x="258756" y="77112"/>
                  <a:pt x="258645" y="77298"/>
                </a:cubicBezTo>
                <a:cubicBezTo>
                  <a:pt x="258533" y="77484"/>
                  <a:pt x="258356" y="77633"/>
                  <a:pt x="258115" y="77744"/>
                </a:cubicBezTo>
                <a:cubicBezTo>
                  <a:pt x="257873" y="77856"/>
                  <a:pt x="257538" y="77949"/>
                  <a:pt x="257110" y="78023"/>
                </a:cubicBezTo>
                <a:cubicBezTo>
                  <a:pt x="256682" y="78098"/>
                  <a:pt x="256152" y="78135"/>
                  <a:pt x="255519" y="78135"/>
                </a:cubicBezTo>
                <a:cubicBezTo>
                  <a:pt x="254850" y="78135"/>
                  <a:pt x="254301" y="78098"/>
                  <a:pt x="253873" y="78023"/>
                </a:cubicBezTo>
                <a:cubicBezTo>
                  <a:pt x="253445" y="77949"/>
                  <a:pt x="253110" y="77856"/>
                  <a:pt x="252868" y="77744"/>
                </a:cubicBezTo>
                <a:cubicBezTo>
                  <a:pt x="252627" y="77633"/>
                  <a:pt x="252450" y="77484"/>
                  <a:pt x="252338" y="77298"/>
                </a:cubicBezTo>
                <a:cubicBezTo>
                  <a:pt x="252227" y="77112"/>
                  <a:pt x="252171" y="76907"/>
                  <a:pt x="252171" y="76684"/>
                </a:cubicBezTo>
                <a:lnTo>
                  <a:pt x="252171" y="46714"/>
                </a:lnTo>
                <a:cubicBezTo>
                  <a:pt x="252171" y="43588"/>
                  <a:pt x="251929" y="41049"/>
                  <a:pt x="251445" y="39096"/>
                </a:cubicBezTo>
                <a:cubicBezTo>
                  <a:pt x="250962" y="37142"/>
                  <a:pt x="250236" y="35468"/>
                  <a:pt x="249269" y="34073"/>
                </a:cubicBezTo>
                <a:cubicBezTo>
                  <a:pt x="248301" y="32677"/>
                  <a:pt x="247064" y="31598"/>
                  <a:pt x="245557" y="30836"/>
                </a:cubicBezTo>
                <a:cubicBezTo>
                  <a:pt x="244050" y="30073"/>
                  <a:pt x="242292" y="29691"/>
                  <a:pt x="240283" y="29691"/>
                </a:cubicBezTo>
                <a:cubicBezTo>
                  <a:pt x="237716" y="29691"/>
                  <a:pt x="235149" y="30603"/>
                  <a:pt x="232581" y="32426"/>
                </a:cubicBezTo>
                <a:cubicBezTo>
                  <a:pt x="230014" y="34249"/>
                  <a:pt x="227317" y="36928"/>
                  <a:pt x="224489" y="40463"/>
                </a:cubicBezTo>
                <a:lnTo>
                  <a:pt x="224489" y="76684"/>
                </a:lnTo>
                <a:cubicBezTo>
                  <a:pt x="224489" y="76907"/>
                  <a:pt x="224433" y="77112"/>
                  <a:pt x="224321" y="77298"/>
                </a:cubicBezTo>
                <a:cubicBezTo>
                  <a:pt x="224210" y="77484"/>
                  <a:pt x="224033" y="77633"/>
                  <a:pt x="223791" y="77744"/>
                </a:cubicBezTo>
                <a:cubicBezTo>
                  <a:pt x="223549" y="77856"/>
                  <a:pt x="223214" y="77949"/>
                  <a:pt x="222787" y="78023"/>
                </a:cubicBezTo>
                <a:cubicBezTo>
                  <a:pt x="222359" y="78098"/>
                  <a:pt x="221810" y="78135"/>
                  <a:pt x="221140" y="78135"/>
                </a:cubicBezTo>
                <a:cubicBezTo>
                  <a:pt x="220508" y="78135"/>
                  <a:pt x="219977" y="78098"/>
                  <a:pt x="219550" y="78023"/>
                </a:cubicBezTo>
                <a:cubicBezTo>
                  <a:pt x="219122" y="77949"/>
                  <a:pt x="218778" y="77856"/>
                  <a:pt x="218517" y="77744"/>
                </a:cubicBezTo>
                <a:cubicBezTo>
                  <a:pt x="218257" y="77633"/>
                  <a:pt x="218080" y="77484"/>
                  <a:pt x="217987" y="77298"/>
                </a:cubicBezTo>
                <a:cubicBezTo>
                  <a:pt x="217894" y="77112"/>
                  <a:pt x="217847" y="76907"/>
                  <a:pt x="217847" y="76684"/>
                </a:cubicBezTo>
                <a:lnTo>
                  <a:pt x="217847" y="26175"/>
                </a:lnTo>
                <a:cubicBezTo>
                  <a:pt x="217847" y="25952"/>
                  <a:pt x="217894" y="25747"/>
                  <a:pt x="217987" y="25561"/>
                </a:cubicBezTo>
                <a:cubicBezTo>
                  <a:pt x="218080" y="25375"/>
                  <a:pt x="218257" y="25217"/>
                  <a:pt x="218517" y="25087"/>
                </a:cubicBezTo>
                <a:cubicBezTo>
                  <a:pt x="218778" y="24957"/>
                  <a:pt x="219103" y="24864"/>
                  <a:pt x="219494" y="24808"/>
                </a:cubicBezTo>
                <a:cubicBezTo>
                  <a:pt x="219884" y="24752"/>
                  <a:pt x="220396" y="24724"/>
                  <a:pt x="221029" y="24724"/>
                </a:cubicBezTo>
                <a:cubicBezTo>
                  <a:pt x="221661" y="24724"/>
                  <a:pt x="222182" y="24752"/>
                  <a:pt x="222591" y="24808"/>
                </a:cubicBezTo>
                <a:cubicBezTo>
                  <a:pt x="223001" y="24864"/>
                  <a:pt x="223317" y="24957"/>
                  <a:pt x="223540" y="25087"/>
                </a:cubicBezTo>
                <a:cubicBezTo>
                  <a:pt x="223763" y="25217"/>
                  <a:pt x="223921" y="25375"/>
                  <a:pt x="224014" y="25561"/>
                </a:cubicBezTo>
                <a:cubicBezTo>
                  <a:pt x="224107" y="25747"/>
                  <a:pt x="224154" y="25952"/>
                  <a:pt x="224154" y="26175"/>
                </a:cubicBezTo>
                <a:lnTo>
                  <a:pt x="224154" y="33319"/>
                </a:lnTo>
                <a:cubicBezTo>
                  <a:pt x="227056" y="30082"/>
                  <a:pt x="229902" y="27738"/>
                  <a:pt x="232693" y="26287"/>
                </a:cubicBezTo>
                <a:cubicBezTo>
                  <a:pt x="235483" y="24836"/>
                  <a:pt x="238255" y="24110"/>
                  <a:pt x="241009" y="24110"/>
                </a:cubicBezTo>
                <a:close/>
                <a:moveTo>
                  <a:pt x="200118" y="24110"/>
                </a:moveTo>
                <a:cubicBezTo>
                  <a:pt x="200602" y="24110"/>
                  <a:pt x="201160" y="24138"/>
                  <a:pt x="201793" y="24194"/>
                </a:cubicBezTo>
                <a:cubicBezTo>
                  <a:pt x="202425" y="24250"/>
                  <a:pt x="203104" y="24352"/>
                  <a:pt x="203830" y="24501"/>
                </a:cubicBezTo>
                <a:cubicBezTo>
                  <a:pt x="204555" y="24650"/>
                  <a:pt x="205206" y="24827"/>
                  <a:pt x="205783" y="25031"/>
                </a:cubicBezTo>
                <a:cubicBezTo>
                  <a:pt x="206360" y="25236"/>
                  <a:pt x="206760" y="25422"/>
                  <a:pt x="206983" y="25589"/>
                </a:cubicBezTo>
                <a:cubicBezTo>
                  <a:pt x="207206" y="25757"/>
                  <a:pt x="207355" y="25906"/>
                  <a:pt x="207429" y="26036"/>
                </a:cubicBezTo>
                <a:cubicBezTo>
                  <a:pt x="207504" y="26166"/>
                  <a:pt x="207569" y="26334"/>
                  <a:pt x="207625" y="26538"/>
                </a:cubicBezTo>
                <a:cubicBezTo>
                  <a:pt x="207681" y="26743"/>
                  <a:pt x="207718" y="27022"/>
                  <a:pt x="207736" y="27375"/>
                </a:cubicBezTo>
                <a:cubicBezTo>
                  <a:pt x="207755" y="27729"/>
                  <a:pt x="207764" y="28185"/>
                  <a:pt x="207764" y="28743"/>
                </a:cubicBezTo>
                <a:cubicBezTo>
                  <a:pt x="207764" y="29301"/>
                  <a:pt x="207746" y="29775"/>
                  <a:pt x="207708" y="30166"/>
                </a:cubicBezTo>
                <a:cubicBezTo>
                  <a:pt x="207671" y="30557"/>
                  <a:pt x="207606" y="30873"/>
                  <a:pt x="207513" y="31115"/>
                </a:cubicBezTo>
                <a:cubicBezTo>
                  <a:pt x="207420" y="31356"/>
                  <a:pt x="207308" y="31542"/>
                  <a:pt x="207178" y="31673"/>
                </a:cubicBezTo>
                <a:cubicBezTo>
                  <a:pt x="207048" y="31803"/>
                  <a:pt x="206871" y="31868"/>
                  <a:pt x="206648" y="31868"/>
                </a:cubicBezTo>
                <a:cubicBezTo>
                  <a:pt x="206313" y="31868"/>
                  <a:pt x="205922" y="31784"/>
                  <a:pt x="205476" y="31617"/>
                </a:cubicBezTo>
                <a:cubicBezTo>
                  <a:pt x="205030" y="31449"/>
                  <a:pt x="204509" y="31273"/>
                  <a:pt x="203913" y="31087"/>
                </a:cubicBezTo>
                <a:cubicBezTo>
                  <a:pt x="203318" y="30901"/>
                  <a:pt x="202667" y="30724"/>
                  <a:pt x="201960" y="30557"/>
                </a:cubicBezTo>
                <a:cubicBezTo>
                  <a:pt x="201253" y="30389"/>
                  <a:pt x="200472" y="30305"/>
                  <a:pt x="199616" y="30305"/>
                </a:cubicBezTo>
                <a:cubicBezTo>
                  <a:pt x="198611" y="30305"/>
                  <a:pt x="197625" y="30519"/>
                  <a:pt x="196658" y="30947"/>
                </a:cubicBezTo>
                <a:cubicBezTo>
                  <a:pt x="195691" y="31375"/>
                  <a:pt x="194677" y="32063"/>
                  <a:pt x="193616" y="33012"/>
                </a:cubicBezTo>
                <a:cubicBezTo>
                  <a:pt x="192556" y="33961"/>
                  <a:pt x="191440" y="35217"/>
                  <a:pt x="190268" y="36779"/>
                </a:cubicBezTo>
                <a:cubicBezTo>
                  <a:pt x="189096" y="38342"/>
                  <a:pt x="187803" y="40258"/>
                  <a:pt x="186389" y="42528"/>
                </a:cubicBezTo>
                <a:lnTo>
                  <a:pt x="186389" y="76684"/>
                </a:lnTo>
                <a:cubicBezTo>
                  <a:pt x="186389" y="76907"/>
                  <a:pt x="186333" y="77112"/>
                  <a:pt x="186221" y="77298"/>
                </a:cubicBezTo>
                <a:cubicBezTo>
                  <a:pt x="186110" y="77484"/>
                  <a:pt x="185933" y="77633"/>
                  <a:pt x="185691" y="77744"/>
                </a:cubicBezTo>
                <a:cubicBezTo>
                  <a:pt x="185449" y="77856"/>
                  <a:pt x="185114" y="77949"/>
                  <a:pt x="184687" y="78023"/>
                </a:cubicBezTo>
                <a:cubicBezTo>
                  <a:pt x="184259" y="78098"/>
                  <a:pt x="183710" y="78135"/>
                  <a:pt x="183040" y="78135"/>
                </a:cubicBezTo>
                <a:cubicBezTo>
                  <a:pt x="182408" y="78135"/>
                  <a:pt x="181877" y="78098"/>
                  <a:pt x="181450" y="78023"/>
                </a:cubicBezTo>
                <a:cubicBezTo>
                  <a:pt x="181022" y="77949"/>
                  <a:pt x="180678" y="77856"/>
                  <a:pt x="180417" y="77744"/>
                </a:cubicBezTo>
                <a:cubicBezTo>
                  <a:pt x="180157" y="77633"/>
                  <a:pt x="179980" y="77484"/>
                  <a:pt x="179887" y="77298"/>
                </a:cubicBezTo>
                <a:cubicBezTo>
                  <a:pt x="179794" y="77112"/>
                  <a:pt x="179747" y="76907"/>
                  <a:pt x="179747" y="76684"/>
                </a:cubicBezTo>
                <a:lnTo>
                  <a:pt x="179747" y="26175"/>
                </a:lnTo>
                <a:cubicBezTo>
                  <a:pt x="179747" y="25952"/>
                  <a:pt x="179794" y="25747"/>
                  <a:pt x="179887" y="25561"/>
                </a:cubicBezTo>
                <a:cubicBezTo>
                  <a:pt x="179980" y="25375"/>
                  <a:pt x="180157" y="25217"/>
                  <a:pt x="180417" y="25087"/>
                </a:cubicBezTo>
                <a:cubicBezTo>
                  <a:pt x="180678" y="24957"/>
                  <a:pt x="181003" y="24864"/>
                  <a:pt x="181394" y="24808"/>
                </a:cubicBezTo>
                <a:cubicBezTo>
                  <a:pt x="181784" y="24752"/>
                  <a:pt x="182296" y="24724"/>
                  <a:pt x="182929" y="24724"/>
                </a:cubicBezTo>
                <a:cubicBezTo>
                  <a:pt x="183561" y="24724"/>
                  <a:pt x="184082" y="24752"/>
                  <a:pt x="184491" y="24808"/>
                </a:cubicBezTo>
                <a:cubicBezTo>
                  <a:pt x="184901" y="24864"/>
                  <a:pt x="185217" y="24957"/>
                  <a:pt x="185440" y="25087"/>
                </a:cubicBezTo>
                <a:cubicBezTo>
                  <a:pt x="185663" y="25217"/>
                  <a:pt x="185821" y="25375"/>
                  <a:pt x="185914" y="25561"/>
                </a:cubicBezTo>
                <a:cubicBezTo>
                  <a:pt x="186007" y="25747"/>
                  <a:pt x="186054" y="25952"/>
                  <a:pt x="186054" y="26175"/>
                </a:cubicBezTo>
                <a:lnTo>
                  <a:pt x="186054" y="34156"/>
                </a:lnTo>
                <a:cubicBezTo>
                  <a:pt x="187505" y="32035"/>
                  <a:pt x="188844" y="30324"/>
                  <a:pt x="190072" y="29022"/>
                </a:cubicBezTo>
                <a:cubicBezTo>
                  <a:pt x="191300" y="27719"/>
                  <a:pt x="192472" y="26706"/>
                  <a:pt x="193588" y="25980"/>
                </a:cubicBezTo>
                <a:cubicBezTo>
                  <a:pt x="194705" y="25255"/>
                  <a:pt x="195793" y="24762"/>
                  <a:pt x="196853" y="24501"/>
                </a:cubicBezTo>
                <a:cubicBezTo>
                  <a:pt x="197914" y="24241"/>
                  <a:pt x="199002" y="24110"/>
                  <a:pt x="200118" y="24110"/>
                </a:cubicBezTo>
                <a:close/>
                <a:moveTo>
                  <a:pt x="142466" y="24110"/>
                </a:moveTo>
                <a:cubicBezTo>
                  <a:pt x="146261" y="24110"/>
                  <a:pt x="149498" y="24743"/>
                  <a:pt x="152177" y="26008"/>
                </a:cubicBezTo>
                <a:cubicBezTo>
                  <a:pt x="154856" y="27273"/>
                  <a:pt x="157060" y="28975"/>
                  <a:pt x="158790" y="31115"/>
                </a:cubicBezTo>
                <a:cubicBezTo>
                  <a:pt x="160521" y="33254"/>
                  <a:pt x="161786" y="35738"/>
                  <a:pt x="162586" y="38565"/>
                </a:cubicBezTo>
                <a:cubicBezTo>
                  <a:pt x="163386" y="41393"/>
                  <a:pt x="163786" y="44370"/>
                  <a:pt x="163786" y="47495"/>
                </a:cubicBezTo>
                <a:lnTo>
                  <a:pt x="163786" y="48835"/>
                </a:lnTo>
                <a:cubicBezTo>
                  <a:pt x="163786" y="50174"/>
                  <a:pt x="163432" y="51095"/>
                  <a:pt x="162725" y="51597"/>
                </a:cubicBezTo>
                <a:cubicBezTo>
                  <a:pt x="162018" y="52099"/>
                  <a:pt x="161330" y="52351"/>
                  <a:pt x="160660" y="52351"/>
                </a:cubicBezTo>
                <a:lnTo>
                  <a:pt x="126225" y="52351"/>
                </a:lnTo>
                <a:cubicBezTo>
                  <a:pt x="126225" y="55476"/>
                  <a:pt x="126532" y="58304"/>
                  <a:pt x="127146" y="60834"/>
                </a:cubicBezTo>
                <a:cubicBezTo>
                  <a:pt x="127760" y="63364"/>
                  <a:pt x="128774" y="65531"/>
                  <a:pt x="130188" y="67336"/>
                </a:cubicBezTo>
                <a:cubicBezTo>
                  <a:pt x="131601" y="69140"/>
                  <a:pt x="133443" y="70526"/>
                  <a:pt x="135713" y="71494"/>
                </a:cubicBezTo>
                <a:cubicBezTo>
                  <a:pt x="137982" y="72461"/>
                  <a:pt x="140773" y="72945"/>
                  <a:pt x="144084" y="72945"/>
                </a:cubicBezTo>
                <a:cubicBezTo>
                  <a:pt x="146428" y="72945"/>
                  <a:pt x="148531" y="72740"/>
                  <a:pt x="150391" y="72331"/>
                </a:cubicBezTo>
                <a:cubicBezTo>
                  <a:pt x="152251" y="71922"/>
                  <a:pt x="153861" y="71466"/>
                  <a:pt x="155219" y="70963"/>
                </a:cubicBezTo>
                <a:cubicBezTo>
                  <a:pt x="156577" y="70461"/>
                  <a:pt x="157693" y="70005"/>
                  <a:pt x="158567" y="69596"/>
                </a:cubicBezTo>
                <a:cubicBezTo>
                  <a:pt x="159442" y="69187"/>
                  <a:pt x="160065" y="68982"/>
                  <a:pt x="160437" y="68982"/>
                </a:cubicBezTo>
                <a:cubicBezTo>
                  <a:pt x="160660" y="68982"/>
                  <a:pt x="160865" y="69038"/>
                  <a:pt x="161051" y="69150"/>
                </a:cubicBezTo>
                <a:cubicBezTo>
                  <a:pt x="161237" y="69261"/>
                  <a:pt x="161386" y="69438"/>
                  <a:pt x="161497" y="69680"/>
                </a:cubicBezTo>
                <a:cubicBezTo>
                  <a:pt x="161609" y="69922"/>
                  <a:pt x="161693" y="70229"/>
                  <a:pt x="161748" y="70601"/>
                </a:cubicBezTo>
                <a:cubicBezTo>
                  <a:pt x="161804" y="70973"/>
                  <a:pt x="161832" y="71438"/>
                  <a:pt x="161832" y="71996"/>
                </a:cubicBezTo>
                <a:cubicBezTo>
                  <a:pt x="161832" y="72256"/>
                  <a:pt x="161814" y="72508"/>
                  <a:pt x="161776" y="72749"/>
                </a:cubicBezTo>
                <a:cubicBezTo>
                  <a:pt x="161739" y="72991"/>
                  <a:pt x="161693" y="73214"/>
                  <a:pt x="161637" y="73419"/>
                </a:cubicBezTo>
                <a:cubicBezTo>
                  <a:pt x="161581" y="73624"/>
                  <a:pt x="161497" y="73819"/>
                  <a:pt x="161386" y="74005"/>
                </a:cubicBezTo>
                <a:cubicBezTo>
                  <a:pt x="161274" y="74191"/>
                  <a:pt x="161125" y="74377"/>
                  <a:pt x="160939" y="74563"/>
                </a:cubicBezTo>
                <a:cubicBezTo>
                  <a:pt x="160753" y="74749"/>
                  <a:pt x="160176" y="75075"/>
                  <a:pt x="159209" y="75540"/>
                </a:cubicBezTo>
                <a:cubicBezTo>
                  <a:pt x="158242" y="76005"/>
                  <a:pt x="156977" y="76470"/>
                  <a:pt x="155414" y="76935"/>
                </a:cubicBezTo>
                <a:cubicBezTo>
                  <a:pt x="153851" y="77400"/>
                  <a:pt x="152037" y="77819"/>
                  <a:pt x="149972" y="78191"/>
                </a:cubicBezTo>
                <a:cubicBezTo>
                  <a:pt x="147907" y="78563"/>
                  <a:pt x="145684" y="78749"/>
                  <a:pt x="143303" y="78749"/>
                </a:cubicBezTo>
                <a:cubicBezTo>
                  <a:pt x="139396" y="78749"/>
                  <a:pt x="135936" y="78163"/>
                  <a:pt x="132922" y="76991"/>
                </a:cubicBezTo>
                <a:cubicBezTo>
                  <a:pt x="129909" y="75819"/>
                  <a:pt x="127378" y="74089"/>
                  <a:pt x="125332" y="71801"/>
                </a:cubicBezTo>
                <a:cubicBezTo>
                  <a:pt x="123286" y="69512"/>
                  <a:pt x="121732" y="66675"/>
                  <a:pt x="120672" y="63290"/>
                </a:cubicBezTo>
                <a:cubicBezTo>
                  <a:pt x="119612" y="59904"/>
                  <a:pt x="119081" y="55978"/>
                  <a:pt x="119081" y="51513"/>
                </a:cubicBezTo>
                <a:cubicBezTo>
                  <a:pt x="119081" y="47235"/>
                  <a:pt x="119630" y="43402"/>
                  <a:pt x="120728" y="40017"/>
                </a:cubicBezTo>
                <a:cubicBezTo>
                  <a:pt x="121825" y="36631"/>
                  <a:pt x="123397" y="33756"/>
                  <a:pt x="125444" y="31394"/>
                </a:cubicBezTo>
                <a:cubicBezTo>
                  <a:pt x="127490" y="29031"/>
                  <a:pt x="129955" y="27226"/>
                  <a:pt x="132839" y="25980"/>
                </a:cubicBezTo>
                <a:cubicBezTo>
                  <a:pt x="135722" y="24734"/>
                  <a:pt x="138931" y="24110"/>
                  <a:pt x="142466" y="24110"/>
                </a:cubicBezTo>
                <a:close/>
                <a:moveTo>
                  <a:pt x="50509" y="24110"/>
                </a:moveTo>
                <a:cubicBezTo>
                  <a:pt x="53820" y="24110"/>
                  <a:pt x="56611" y="24668"/>
                  <a:pt x="58880" y="25785"/>
                </a:cubicBezTo>
                <a:cubicBezTo>
                  <a:pt x="61150" y="26901"/>
                  <a:pt x="62982" y="28408"/>
                  <a:pt x="64378" y="30305"/>
                </a:cubicBezTo>
                <a:cubicBezTo>
                  <a:pt x="65773" y="32203"/>
                  <a:pt x="66778" y="34417"/>
                  <a:pt x="67391" y="36947"/>
                </a:cubicBezTo>
                <a:cubicBezTo>
                  <a:pt x="68005" y="39477"/>
                  <a:pt x="68312" y="42528"/>
                  <a:pt x="68312" y="46100"/>
                </a:cubicBezTo>
                <a:lnTo>
                  <a:pt x="68312" y="76684"/>
                </a:lnTo>
                <a:cubicBezTo>
                  <a:pt x="68312" y="76907"/>
                  <a:pt x="68256" y="77112"/>
                  <a:pt x="68145" y="77298"/>
                </a:cubicBezTo>
                <a:cubicBezTo>
                  <a:pt x="68033" y="77484"/>
                  <a:pt x="67857" y="77633"/>
                  <a:pt x="67615" y="77744"/>
                </a:cubicBezTo>
                <a:cubicBezTo>
                  <a:pt x="67373" y="77856"/>
                  <a:pt x="67038" y="77949"/>
                  <a:pt x="66610" y="78023"/>
                </a:cubicBezTo>
                <a:cubicBezTo>
                  <a:pt x="66182" y="78098"/>
                  <a:pt x="65652" y="78135"/>
                  <a:pt x="65019" y="78135"/>
                </a:cubicBezTo>
                <a:cubicBezTo>
                  <a:pt x="64350" y="78135"/>
                  <a:pt x="63801" y="78098"/>
                  <a:pt x="63373" y="78023"/>
                </a:cubicBezTo>
                <a:cubicBezTo>
                  <a:pt x="62945" y="77949"/>
                  <a:pt x="62610" y="77856"/>
                  <a:pt x="62368" y="77744"/>
                </a:cubicBezTo>
                <a:cubicBezTo>
                  <a:pt x="62127" y="77633"/>
                  <a:pt x="61950" y="77484"/>
                  <a:pt x="61838" y="77298"/>
                </a:cubicBezTo>
                <a:cubicBezTo>
                  <a:pt x="61727" y="77112"/>
                  <a:pt x="61671" y="76907"/>
                  <a:pt x="61671" y="76684"/>
                </a:cubicBezTo>
                <a:lnTo>
                  <a:pt x="61671" y="46714"/>
                </a:lnTo>
                <a:cubicBezTo>
                  <a:pt x="61671" y="43588"/>
                  <a:pt x="61429" y="41049"/>
                  <a:pt x="60945" y="39096"/>
                </a:cubicBezTo>
                <a:cubicBezTo>
                  <a:pt x="60462" y="37142"/>
                  <a:pt x="59736" y="35468"/>
                  <a:pt x="58769" y="34073"/>
                </a:cubicBezTo>
                <a:cubicBezTo>
                  <a:pt x="57801" y="32677"/>
                  <a:pt x="56564" y="31598"/>
                  <a:pt x="55057" y="30836"/>
                </a:cubicBezTo>
                <a:cubicBezTo>
                  <a:pt x="53550" y="30073"/>
                  <a:pt x="51792" y="29691"/>
                  <a:pt x="49783" y="29691"/>
                </a:cubicBezTo>
                <a:cubicBezTo>
                  <a:pt x="47216" y="29691"/>
                  <a:pt x="44649" y="30603"/>
                  <a:pt x="42081" y="32426"/>
                </a:cubicBezTo>
                <a:cubicBezTo>
                  <a:pt x="39514" y="34249"/>
                  <a:pt x="36817" y="36928"/>
                  <a:pt x="33989" y="40463"/>
                </a:cubicBezTo>
                <a:lnTo>
                  <a:pt x="33989" y="76684"/>
                </a:lnTo>
                <a:cubicBezTo>
                  <a:pt x="33989" y="76907"/>
                  <a:pt x="33933" y="77112"/>
                  <a:pt x="33821" y="77298"/>
                </a:cubicBezTo>
                <a:cubicBezTo>
                  <a:pt x="33710" y="77484"/>
                  <a:pt x="33533" y="77633"/>
                  <a:pt x="33291" y="77744"/>
                </a:cubicBezTo>
                <a:cubicBezTo>
                  <a:pt x="33049" y="77856"/>
                  <a:pt x="32714" y="77949"/>
                  <a:pt x="32287" y="78023"/>
                </a:cubicBezTo>
                <a:cubicBezTo>
                  <a:pt x="31859" y="78098"/>
                  <a:pt x="31310" y="78135"/>
                  <a:pt x="30640" y="78135"/>
                </a:cubicBezTo>
                <a:cubicBezTo>
                  <a:pt x="30008" y="78135"/>
                  <a:pt x="29477" y="78098"/>
                  <a:pt x="29050" y="78023"/>
                </a:cubicBezTo>
                <a:cubicBezTo>
                  <a:pt x="28622" y="77949"/>
                  <a:pt x="28278" y="77856"/>
                  <a:pt x="28017" y="77744"/>
                </a:cubicBezTo>
                <a:cubicBezTo>
                  <a:pt x="27757" y="77633"/>
                  <a:pt x="27580" y="77484"/>
                  <a:pt x="27487" y="77298"/>
                </a:cubicBezTo>
                <a:cubicBezTo>
                  <a:pt x="27394" y="77112"/>
                  <a:pt x="27347" y="76907"/>
                  <a:pt x="27347" y="76684"/>
                </a:cubicBezTo>
                <a:lnTo>
                  <a:pt x="27347" y="26175"/>
                </a:lnTo>
                <a:cubicBezTo>
                  <a:pt x="27347" y="25952"/>
                  <a:pt x="27394" y="25747"/>
                  <a:pt x="27487" y="25561"/>
                </a:cubicBezTo>
                <a:cubicBezTo>
                  <a:pt x="27580" y="25375"/>
                  <a:pt x="27757" y="25217"/>
                  <a:pt x="28017" y="25087"/>
                </a:cubicBezTo>
                <a:cubicBezTo>
                  <a:pt x="28278" y="24957"/>
                  <a:pt x="28603" y="24864"/>
                  <a:pt x="28994" y="24808"/>
                </a:cubicBezTo>
                <a:cubicBezTo>
                  <a:pt x="29384" y="24752"/>
                  <a:pt x="29896" y="24724"/>
                  <a:pt x="30529" y="24724"/>
                </a:cubicBezTo>
                <a:cubicBezTo>
                  <a:pt x="31161" y="24724"/>
                  <a:pt x="31682" y="24752"/>
                  <a:pt x="32091" y="24808"/>
                </a:cubicBezTo>
                <a:cubicBezTo>
                  <a:pt x="32501" y="24864"/>
                  <a:pt x="32817" y="24957"/>
                  <a:pt x="33040" y="25087"/>
                </a:cubicBezTo>
                <a:cubicBezTo>
                  <a:pt x="33263" y="25217"/>
                  <a:pt x="33421" y="25375"/>
                  <a:pt x="33514" y="25561"/>
                </a:cubicBezTo>
                <a:cubicBezTo>
                  <a:pt x="33607" y="25747"/>
                  <a:pt x="33654" y="25952"/>
                  <a:pt x="33654" y="26175"/>
                </a:cubicBezTo>
                <a:lnTo>
                  <a:pt x="33654" y="33319"/>
                </a:lnTo>
                <a:cubicBezTo>
                  <a:pt x="36556" y="30082"/>
                  <a:pt x="39402" y="27738"/>
                  <a:pt x="42193" y="26287"/>
                </a:cubicBezTo>
                <a:cubicBezTo>
                  <a:pt x="44984" y="24836"/>
                  <a:pt x="47755" y="24110"/>
                  <a:pt x="50509" y="24110"/>
                </a:cubicBezTo>
                <a:close/>
                <a:moveTo>
                  <a:pt x="89855" y="11162"/>
                </a:moveTo>
                <a:cubicBezTo>
                  <a:pt x="90525" y="11162"/>
                  <a:pt x="91074" y="11190"/>
                  <a:pt x="91502" y="11246"/>
                </a:cubicBezTo>
                <a:cubicBezTo>
                  <a:pt x="91929" y="11302"/>
                  <a:pt x="92264" y="11395"/>
                  <a:pt x="92506" y="11525"/>
                </a:cubicBezTo>
                <a:cubicBezTo>
                  <a:pt x="92748" y="11655"/>
                  <a:pt x="92925" y="11813"/>
                  <a:pt x="93036" y="11999"/>
                </a:cubicBezTo>
                <a:cubicBezTo>
                  <a:pt x="93148" y="12186"/>
                  <a:pt x="93204" y="12390"/>
                  <a:pt x="93204" y="12613"/>
                </a:cubicBezTo>
                <a:lnTo>
                  <a:pt x="93204" y="25003"/>
                </a:lnTo>
                <a:lnTo>
                  <a:pt x="107156" y="25003"/>
                </a:lnTo>
                <a:cubicBezTo>
                  <a:pt x="107417" y="25003"/>
                  <a:pt x="107649" y="25059"/>
                  <a:pt x="107854" y="25171"/>
                </a:cubicBezTo>
                <a:cubicBezTo>
                  <a:pt x="108059" y="25282"/>
                  <a:pt x="108235" y="25459"/>
                  <a:pt x="108384" y="25701"/>
                </a:cubicBezTo>
                <a:cubicBezTo>
                  <a:pt x="108533" y="25943"/>
                  <a:pt x="108645" y="26240"/>
                  <a:pt x="108719" y="26594"/>
                </a:cubicBezTo>
                <a:cubicBezTo>
                  <a:pt x="108794" y="26947"/>
                  <a:pt x="108831" y="27366"/>
                  <a:pt x="108831" y="27850"/>
                </a:cubicBezTo>
                <a:cubicBezTo>
                  <a:pt x="108831" y="28780"/>
                  <a:pt x="108673" y="29477"/>
                  <a:pt x="108356" y="29943"/>
                </a:cubicBezTo>
                <a:cubicBezTo>
                  <a:pt x="108040" y="30408"/>
                  <a:pt x="107640" y="30640"/>
                  <a:pt x="107156" y="30640"/>
                </a:cubicBezTo>
                <a:lnTo>
                  <a:pt x="93204" y="30640"/>
                </a:lnTo>
                <a:lnTo>
                  <a:pt x="93204" y="61169"/>
                </a:lnTo>
                <a:cubicBezTo>
                  <a:pt x="93204" y="65001"/>
                  <a:pt x="93753" y="67922"/>
                  <a:pt x="94850" y="69931"/>
                </a:cubicBezTo>
                <a:cubicBezTo>
                  <a:pt x="95948" y="71940"/>
                  <a:pt x="97948" y="72945"/>
                  <a:pt x="100850" y="72945"/>
                </a:cubicBezTo>
                <a:cubicBezTo>
                  <a:pt x="101743" y="72945"/>
                  <a:pt x="102552" y="72852"/>
                  <a:pt x="103278" y="72666"/>
                </a:cubicBezTo>
                <a:cubicBezTo>
                  <a:pt x="104003" y="72480"/>
                  <a:pt x="104645" y="72275"/>
                  <a:pt x="105203" y="72052"/>
                </a:cubicBezTo>
                <a:cubicBezTo>
                  <a:pt x="105761" y="71829"/>
                  <a:pt x="106236" y="71624"/>
                  <a:pt x="106626" y="71438"/>
                </a:cubicBezTo>
                <a:cubicBezTo>
                  <a:pt x="107017" y="71252"/>
                  <a:pt x="107361" y="71159"/>
                  <a:pt x="107659" y="71159"/>
                </a:cubicBezTo>
                <a:cubicBezTo>
                  <a:pt x="107845" y="71159"/>
                  <a:pt x="108012" y="71196"/>
                  <a:pt x="108161" y="71270"/>
                </a:cubicBezTo>
                <a:cubicBezTo>
                  <a:pt x="108310" y="71345"/>
                  <a:pt x="108431" y="71484"/>
                  <a:pt x="108524" y="71689"/>
                </a:cubicBezTo>
                <a:cubicBezTo>
                  <a:pt x="108617" y="71894"/>
                  <a:pt x="108691" y="72154"/>
                  <a:pt x="108747" y="72470"/>
                </a:cubicBezTo>
                <a:cubicBezTo>
                  <a:pt x="108803" y="72787"/>
                  <a:pt x="108831" y="73187"/>
                  <a:pt x="108831" y="73670"/>
                </a:cubicBezTo>
                <a:cubicBezTo>
                  <a:pt x="108831" y="74452"/>
                  <a:pt x="108766" y="75084"/>
                  <a:pt x="108635" y="75568"/>
                </a:cubicBezTo>
                <a:cubicBezTo>
                  <a:pt x="108505" y="76052"/>
                  <a:pt x="108301" y="76433"/>
                  <a:pt x="108022" y="76712"/>
                </a:cubicBezTo>
                <a:cubicBezTo>
                  <a:pt x="107742" y="76991"/>
                  <a:pt x="107333" y="77251"/>
                  <a:pt x="106794" y="77493"/>
                </a:cubicBezTo>
                <a:cubicBezTo>
                  <a:pt x="106254" y="77735"/>
                  <a:pt x="105631" y="77940"/>
                  <a:pt x="104924" y="78107"/>
                </a:cubicBezTo>
                <a:cubicBezTo>
                  <a:pt x="104217" y="78275"/>
                  <a:pt x="103473" y="78405"/>
                  <a:pt x="102692" y="78498"/>
                </a:cubicBezTo>
                <a:cubicBezTo>
                  <a:pt x="101910" y="78591"/>
                  <a:pt x="101148" y="78637"/>
                  <a:pt x="100403" y="78637"/>
                </a:cubicBezTo>
                <a:cubicBezTo>
                  <a:pt x="97910" y="78637"/>
                  <a:pt x="95790" y="78303"/>
                  <a:pt x="94041" y="77633"/>
                </a:cubicBezTo>
                <a:cubicBezTo>
                  <a:pt x="92292" y="76963"/>
                  <a:pt x="90860" y="75949"/>
                  <a:pt x="89744" y="74591"/>
                </a:cubicBezTo>
                <a:cubicBezTo>
                  <a:pt x="88627" y="73233"/>
                  <a:pt x="87818" y="71512"/>
                  <a:pt x="87316" y="69429"/>
                </a:cubicBezTo>
                <a:cubicBezTo>
                  <a:pt x="86814" y="67345"/>
                  <a:pt x="86562" y="64889"/>
                  <a:pt x="86562" y="62062"/>
                </a:cubicBezTo>
                <a:lnTo>
                  <a:pt x="86562" y="30640"/>
                </a:lnTo>
                <a:lnTo>
                  <a:pt x="79028" y="30640"/>
                </a:lnTo>
                <a:cubicBezTo>
                  <a:pt x="78507" y="30640"/>
                  <a:pt x="78098" y="30408"/>
                  <a:pt x="77800" y="29943"/>
                </a:cubicBezTo>
                <a:cubicBezTo>
                  <a:pt x="77502" y="29477"/>
                  <a:pt x="77354" y="28780"/>
                  <a:pt x="77354" y="27850"/>
                </a:cubicBezTo>
                <a:cubicBezTo>
                  <a:pt x="77354" y="27366"/>
                  <a:pt x="77391" y="26947"/>
                  <a:pt x="77465" y="26594"/>
                </a:cubicBezTo>
                <a:cubicBezTo>
                  <a:pt x="77540" y="26240"/>
                  <a:pt x="77651" y="25943"/>
                  <a:pt x="77800" y="25701"/>
                </a:cubicBezTo>
                <a:cubicBezTo>
                  <a:pt x="77949" y="25459"/>
                  <a:pt x="78126" y="25282"/>
                  <a:pt x="78330" y="25171"/>
                </a:cubicBezTo>
                <a:cubicBezTo>
                  <a:pt x="78535" y="25059"/>
                  <a:pt x="78767" y="25003"/>
                  <a:pt x="79028" y="25003"/>
                </a:cubicBezTo>
                <a:lnTo>
                  <a:pt x="86562" y="25003"/>
                </a:lnTo>
                <a:lnTo>
                  <a:pt x="86562" y="12613"/>
                </a:lnTo>
                <a:cubicBezTo>
                  <a:pt x="86562" y="12390"/>
                  <a:pt x="86609" y="12186"/>
                  <a:pt x="86702" y="11999"/>
                </a:cubicBezTo>
                <a:cubicBezTo>
                  <a:pt x="86795" y="11813"/>
                  <a:pt x="86972" y="11655"/>
                  <a:pt x="87232" y="11525"/>
                </a:cubicBezTo>
                <a:cubicBezTo>
                  <a:pt x="87493" y="11395"/>
                  <a:pt x="87837" y="11302"/>
                  <a:pt x="88265" y="11246"/>
                </a:cubicBezTo>
                <a:cubicBezTo>
                  <a:pt x="88692" y="11190"/>
                  <a:pt x="89223" y="11162"/>
                  <a:pt x="89855" y="11162"/>
                </a:cubicBezTo>
                <a:close/>
                <a:moveTo>
                  <a:pt x="3405" y="5246"/>
                </a:moveTo>
                <a:cubicBezTo>
                  <a:pt x="4074" y="5246"/>
                  <a:pt x="4623" y="5284"/>
                  <a:pt x="5051" y="5358"/>
                </a:cubicBezTo>
                <a:cubicBezTo>
                  <a:pt x="5479" y="5432"/>
                  <a:pt x="5823" y="5525"/>
                  <a:pt x="6084" y="5637"/>
                </a:cubicBezTo>
                <a:cubicBezTo>
                  <a:pt x="6344" y="5749"/>
                  <a:pt x="6530" y="5898"/>
                  <a:pt x="6642" y="6084"/>
                </a:cubicBezTo>
                <a:cubicBezTo>
                  <a:pt x="6753" y="6270"/>
                  <a:pt x="6809" y="6474"/>
                  <a:pt x="6809" y="6697"/>
                </a:cubicBezTo>
                <a:lnTo>
                  <a:pt x="6809" y="76684"/>
                </a:lnTo>
                <a:cubicBezTo>
                  <a:pt x="6809" y="76907"/>
                  <a:pt x="6753" y="77112"/>
                  <a:pt x="6642" y="77298"/>
                </a:cubicBezTo>
                <a:cubicBezTo>
                  <a:pt x="6530" y="77484"/>
                  <a:pt x="6344" y="77633"/>
                  <a:pt x="6084" y="77744"/>
                </a:cubicBezTo>
                <a:cubicBezTo>
                  <a:pt x="5823" y="77856"/>
                  <a:pt x="5479" y="77949"/>
                  <a:pt x="5051" y="78023"/>
                </a:cubicBezTo>
                <a:cubicBezTo>
                  <a:pt x="4623" y="78098"/>
                  <a:pt x="4074" y="78135"/>
                  <a:pt x="3405" y="78135"/>
                </a:cubicBezTo>
                <a:cubicBezTo>
                  <a:pt x="2772" y="78135"/>
                  <a:pt x="2233" y="78098"/>
                  <a:pt x="1786" y="78023"/>
                </a:cubicBezTo>
                <a:cubicBezTo>
                  <a:pt x="1340" y="77949"/>
                  <a:pt x="986" y="77856"/>
                  <a:pt x="726" y="77744"/>
                </a:cubicBezTo>
                <a:cubicBezTo>
                  <a:pt x="465" y="77633"/>
                  <a:pt x="279" y="77484"/>
                  <a:pt x="168" y="77298"/>
                </a:cubicBezTo>
                <a:cubicBezTo>
                  <a:pt x="56" y="77112"/>
                  <a:pt x="0" y="76907"/>
                  <a:pt x="0" y="76684"/>
                </a:cubicBezTo>
                <a:lnTo>
                  <a:pt x="0" y="6697"/>
                </a:lnTo>
                <a:cubicBezTo>
                  <a:pt x="0" y="6474"/>
                  <a:pt x="65" y="6270"/>
                  <a:pt x="196" y="6084"/>
                </a:cubicBezTo>
                <a:cubicBezTo>
                  <a:pt x="326" y="5898"/>
                  <a:pt x="530" y="5749"/>
                  <a:pt x="809" y="5637"/>
                </a:cubicBezTo>
                <a:cubicBezTo>
                  <a:pt x="1088" y="5525"/>
                  <a:pt x="1442" y="5432"/>
                  <a:pt x="1870" y="5358"/>
                </a:cubicBezTo>
                <a:cubicBezTo>
                  <a:pt x="2298" y="5284"/>
                  <a:pt x="2809" y="5246"/>
                  <a:pt x="3405" y="5246"/>
                </a:cubicBezTo>
                <a:close/>
                <a:moveTo>
                  <a:pt x="335440" y="0"/>
                </a:moveTo>
                <a:cubicBezTo>
                  <a:pt x="336110" y="0"/>
                  <a:pt x="336659" y="28"/>
                  <a:pt x="337087" y="84"/>
                </a:cubicBezTo>
                <a:cubicBezTo>
                  <a:pt x="337514" y="140"/>
                  <a:pt x="337849" y="233"/>
                  <a:pt x="338091" y="363"/>
                </a:cubicBezTo>
                <a:cubicBezTo>
                  <a:pt x="338333" y="493"/>
                  <a:pt x="338510" y="651"/>
                  <a:pt x="338621" y="837"/>
                </a:cubicBezTo>
                <a:cubicBezTo>
                  <a:pt x="338733" y="1023"/>
                  <a:pt x="338789" y="1228"/>
                  <a:pt x="338789" y="1451"/>
                </a:cubicBezTo>
                <a:lnTo>
                  <a:pt x="338789" y="76684"/>
                </a:lnTo>
                <a:cubicBezTo>
                  <a:pt x="338789" y="76907"/>
                  <a:pt x="338733" y="77112"/>
                  <a:pt x="338621" y="77298"/>
                </a:cubicBezTo>
                <a:cubicBezTo>
                  <a:pt x="338510" y="77484"/>
                  <a:pt x="338333" y="77633"/>
                  <a:pt x="338091" y="77744"/>
                </a:cubicBezTo>
                <a:cubicBezTo>
                  <a:pt x="337849" y="77856"/>
                  <a:pt x="337514" y="77949"/>
                  <a:pt x="337087" y="78023"/>
                </a:cubicBezTo>
                <a:cubicBezTo>
                  <a:pt x="336659" y="78098"/>
                  <a:pt x="336110" y="78135"/>
                  <a:pt x="335440" y="78135"/>
                </a:cubicBezTo>
                <a:cubicBezTo>
                  <a:pt x="334808" y="78135"/>
                  <a:pt x="334277" y="78098"/>
                  <a:pt x="333850" y="78023"/>
                </a:cubicBezTo>
                <a:cubicBezTo>
                  <a:pt x="333422" y="77949"/>
                  <a:pt x="333078" y="77856"/>
                  <a:pt x="332817" y="77744"/>
                </a:cubicBezTo>
                <a:cubicBezTo>
                  <a:pt x="332557" y="77633"/>
                  <a:pt x="332380" y="77484"/>
                  <a:pt x="332287" y="77298"/>
                </a:cubicBezTo>
                <a:cubicBezTo>
                  <a:pt x="332194" y="77112"/>
                  <a:pt x="332147" y="76907"/>
                  <a:pt x="332147" y="76684"/>
                </a:cubicBezTo>
                <a:lnTo>
                  <a:pt x="332147" y="1451"/>
                </a:lnTo>
                <a:cubicBezTo>
                  <a:pt x="332147" y="1228"/>
                  <a:pt x="332194" y="1023"/>
                  <a:pt x="332287" y="837"/>
                </a:cubicBezTo>
                <a:cubicBezTo>
                  <a:pt x="332380" y="651"/>
                  <a:pt x="332557" y="493"/>
                  <a:pt x="332817" y="363"/>
                </a:cubicBezTo>
                <a:cubicBezTo>
                  <a:pt x="333078" y="233"/>
                  <a:pt x="333422" y="140"/>
                  <a:pt x="333850" y="84"/>
                </a:cubicBezTo>
                <a:cubicBezTo>
                  <a:pt x="334277" y="28"/>
                  <a:pt x="334808" y="0"/>
                  <a:pt x="3354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a-DK" sz="9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C53A424-56FD-456F-8861-92FE22F96CC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1AF37AC-3378-4DD5-B168-885EB840E066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348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F64E8016-1BE0-4F48-B51C-E5159C349E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6E0262-1052-7140-AA3D-937F1AD7FE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13" name="Pladsholder til tekst 7">
            <a:extLst>
              <a:ext uri="{FF2B5EF4-FFF2-40B4-BE49-F238E27FC236}">
                <a16:creationId xmlns:a16="http://schemas.microsoft.com/office/drawing/2014/main" id="{F8482ACD-6EE5-8949-92BF-2F3E936B89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10C1DB0-21B7-4911-8293-1709DDF5A49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99A8C184-49E1-45F2-9D11-C5377E1F60EB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2E3345CF-FCAC-49B0-B5E1-05F3EB29309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FF2D005-DD24-4A21-BFB2-CC37B6C5BF6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468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23C2C5DF-AF86-5B44-B421-95D2B8298C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4B619AC-2DE8-F349-916D-5357F86AA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A673C237-CE7A-7440-B18F-ABE4D42F8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6468FE4-22A3-4DAB-A760-88722AE1F15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5346FAE6-0BA8-454A-83BA-BBBD14FE952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8EF2B5BC-B791-45DF-B9BA-686244EAC6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430D6BE-19E1-42A7-B740-F8BD6644848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1172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FC3A4E5-D727-9C45-ABDE-C7DE64355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86FBFFC-5354-4FD3-A9DD-7C57205806B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A134D7C3-A9CE-4910-AAF2-B087059D6F61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993F2A2C-60D1-4E1D-9F7C-E51A6C9D04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767E29E3-5255-4012-AD4C-0D623CBB0F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8381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8E672BA-F765-2843-9380-B4FA84CEB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BFC476B-91D2-4EA7-A0B5-D5D6A8FEE8C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581A295-4FF6-4D8A-93E9-41FB42B9E8C2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D1F9BE9C-AE9F-4AD4-B0AC-15783F04E4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C385B668-9C4A-44A4-95CD-CB8ACC83BA5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0418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493BED7A-1F77-5F4F-BB15-69C469BCB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E6F1E68-7B78-496C-97E5-8CC1C3A36CFB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9C3E249E-02D3-43B6-B1B9-81E5FE64B046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67667F27-C2DF-42F5-9ADE-641095C1C57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C82E889F-CC53-43B3-A214-93DC7BE773BE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8226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477443-7C71-1B46-98BA-149F04FD4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38F14EF-DCF1-4EE0-AF41-C7A840AAA43F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AB6E79EA-0B9B-48FE-BE43-774C9B645A5C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2921CE34-DFC9-4577-9C01-C2F2EA81DA14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161AFC3D-8601-485D-B463-BE3A32E171D7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9954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1">
            <a:extLst>
              <a:ext uri="{FF2B5EF4-FFF2-40B4-BE49-F238E27FC236}">
                <a16:creationId xmlns:a16="http://schemas.microsoft.com/office/drawing/2014/main" id="{D80C3370-0C4D-224E-8F4A-ADE76E78B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1EA4DDCD-C039-9542-B93C-9129BE80F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7" name="Pladsholder til tekst 7">
            <a:extLst>
              <a:ext uri="{FF2B5EF4-FFF2-40B4-BE49-F238E27FC236}">
                <a16:creationId xmlns:a16="http://schemas.microsoft.com/office/drawing/2014/main" id="{CCC063DB-84BB-8340-B548-CD048E69FA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1D0F76A3-BF51-4CD8-AD94-B8C4E40B991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43ED3CD-B582-4E57-90A4-B2F728400300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4C1C993-B96A-482F-8E3E-BAB6AB42C3C6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45FE33AD-9516-4247-8243-3AF784BAF68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D8725F61-66CB-4AD5-AE08-3335920E8F9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01811450-53F2-CC7D-608F-41D01F22D87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562230" y="4762192"/>
            <a:ext cx="338400" cy="79200"/>
          </a:xfrm>
          <a:blipFill>
            <a:blip r:embed="rId5">
              <a:lum bright="100000"/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7112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5E41CA73-8708-D44D-A39C-DFD6B128F3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 dirty="0"/>
              <a:t>A great headline can be added here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1951315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id="{04416AAE-F179-44B6-9831-1211A2314E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pic>
        <p:nvPicPr>
          <p:cNvPr id="10" name="Graphic 11">
            <a:extLst>
              <a:ext uri="{FF2B5EF4-FFF2-40B4-BE49-F238E27FC236}">
                <a16:creationId xmlns:a16="http://schemas.microsoft.com/office/drawing/2014/main" id="{00656AAE-866E-4F97-9F52-CA9B6E32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4F16E12-2F8B-4819-92EC-8B3233EB08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0B4BE46-0BF6-42C7-B92D-83065034DFF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E90DB420-6BC8-4356-88A7-186DA977FCFB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5731F026-D308-4296-A2D5-8A8A7BCB583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9A346B98-9570-48D7-B7AA-C2B247360BE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805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6464A6D4-23E7-164C-AE57-9B41919BC9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DC8BDAC4-C8C4-B344-9655-88067569C5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5A5D279-B892-478E-A2C8-0BC751C2F0D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FE0DC818-1175-4BCA-8944-B3B9FA94FE4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6AB4AF7-5843-42B2-83EF-6C7B1734F34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712FEA1-C6B0-4055-A983-C517DC02760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466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7AC66C80-467F-514B-8C33-922453CBA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6C689FAB-8E3B-1445-95F8-1CE8A7E9D3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FA40D9F-C4D6-374B-9003-6B7D9DBD85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0E8689C-413C-4589-8094-6A641E75B01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75B4D7B8-F4F5-4B4B-B885-F4C027A73C8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9C49C0B-2424-44C3-8058-3DBDCDD1414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B125BD9-8E22-4355-B118-0CA76B3C10D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0766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122" y="79219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7D6D5E8-3155-4001-9A21-436A146661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2122" y="1164511"/>
            <a:ext cx="3944948" cy="324706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23FDE112-DC63-45F0-8D13-80A3A297284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43A439A-5135-4E72-97AB-C091D75CDDD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A491988-BE57-431C-8028-8BA87994822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FCB43E0-445F-4A8F-B7C7-62105D0F1FA0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3F7B872-84BB-4B81-9864-ED5874848F7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E6B8E43F-8D98-929E-CC90-94D5F861063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562230" y="4762192"/>
            <a:ext cx="338400" cy="79200"/>
          </a:xfrm>
          <a:blipFill>
            <a:blip r:embed="rId3">
              <a:lum bright="100000"/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4879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8" name="Titel 13">
            <a:extLst>
              <a:ext uri="{FF2B5EF4-FFF2-40B4-BE49-F238E27FC236}">
                <a16:creationId xmlns:a16="http://schemas.microsoft.com/office/drawing/2014/main" id="{91F5DAC1-AB24-2C49-A83F-B1A3097D1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A6BAFAAD-1A3D-B24E-B7B4-1DFA22EB11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049C12-CFD3-4E45-AB48-9B3D070E26F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DA9D0290-A7DD-4652-928C-ADE7E63E66F8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9E26415-0F0B-4701-B658-8E26E9EE573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867C8DC-B16C-489C-AF38-C897A6C2DC6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5292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C9F703F9-CB20-7048-82DF-A6459D38E6E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21B9330A-C609-B445-90EC-51073B5B2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8C005136-0577-CD42-8444-07F3E7349D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4A0C4C1-205A-4697-900A-152833F16C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1F8021F-92D9-4FCC-B1B3-11F2C465A835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1F2B472D-2658-4503-AE2F-AA29E9B96D4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429B1E0-AE45-405D-8F20-85A7672FEE0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0293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95B36680-5E91-274A-9D48-31A154556F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64473AB1-2F59-7144-ADDB-30154BDC47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0359CBE8-76CD-7A44-BD26-7423FF90B8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4FED527-FF48-46FC-8B69-EEF394B0C76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1EA57CDE-DAD9-4774-9454-625E71A40F2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658EEB6C-7803-4CDC-B985-C39D1649CAD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FB994EEC-4468-4C39-A02F-8CF5063A928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1341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13840727-5A98-F243-A7A4-E83A37178D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0">
            <a:extLst>
              <a:ext uri="{FF2B5EF4-FFF2-40B4-BE49-F238E27FC236}">
                <a16:creationId xmlns:a16="http://schemas.microsoft.com/office/drawing/2014/main" id="{B78A1075-47B3-874C-B351-BE5817168E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567A5C47-9281-F14C-BFE0-E3C1C4638F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640C959-0D42-F246-83B4-532651C77B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6F3AFAE-9384-498A-BC7C-7B07A9659BC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1543FBDB-BB67-4BD7-8E78-2023F01CBB66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B43CB94-B328-4189-83B2-A14A1C36A8C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95BB250-E3DA-4F21-B83F-CFBE93BCBF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2432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F4040793-5111-EB47-9045-AD382FC9AA0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9664BC7B-F703-2F46-BDB9-3FDA8D1C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655CB392-0E08-AA42-8D93-F4A63C8CD2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E8094319-BE67-6D4D-A601-C06512E93D6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F12D74E8-C226-AB42-A1E6-4D7B458E2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7A78CE56-247C-D940-A775-3A43EA3EF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7C24C7F-D9B5-4B52-9B02-A54745E18C2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733EA9A8-3447-4738-AA93-2973C7BDBD51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E42CEE3-8282-49EC-8DF3-644574A326CC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20560B9-0BE9-4EFC-A640-718EC1B2EC9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4426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D20AE002-BDC6-5341-AD72-867812F55B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13D1A9BE-FD86-2447-B7C3-EE8257BAE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083A1E10-D37A-5A43-9618-8633FCF4B9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B523A8E2-B4BE-8847-8E48-4F2D26F928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461D0C80-AF59-1D4A-AE3D-97FA6FC7D1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0D944F9D-D1CF-8C47-B3D0-7A553074CD9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B84D7F7-B348-4F5C-9B68-0E48F32632C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DCE99D25-E172-4E45-B567-468A1969A548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861A6FC-7E66-4383-B3BC-CB6DCF4D9D4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788A427-3A0B-4F48-AE2B-C28B3008128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009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2">
            <a:extLst>
              <a:ext uri="{FF2B5EF4-FFF2-40B4-BE49-F238E27FC236}">
                <a16:creationId xmlns:a16="http://schemas.microsoft.com/office/drawing/2014/main" id="{3C1D9266-281C-9741-B384-635476C237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9978D278-D7AF-7345-9F80-CEF445A243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CA34423-7064-47A8-B86E-9B413833F9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7DA23D1C-DDBB-4223-AEB7-5648F3080208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E6BFA149-429F-4563-AED3-F7344B4D1D5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079B5EB-C2AF-435C-BFE8-F26B0980A07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93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6E97C351-2560-F141-8560-11E36661F4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rIns="108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64FD4C7B-27B2-5E4F-B99C-C08203F92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14" name="Pladsholder til tekst 27">
            <a:extLst>
              <a:ext uri="{FF2B5EF4-FFF2-40B4-BE49-F238E27FC236}">
                <a16:creationId xmlns:a16="http://schemas.microsoft.com/office/drawing/2014/main" id="{0A512878-E90D-FD4C-BF1B-60524CC23B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523CFD1-F369-4BE5-8BFE-76FCE5456D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79F7D02-E0ED-4064-A9A7-0C4014C3F1FD}" type="datetime1">
              <a:rPr lang="en-US" smtClean="0"/>
              <a:t>10/15/2024</a:t>
            </a:fld>
            <a:endParaRPr lang="en-US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789FC1CD-C028-4F9C-ADBA-8B9931B45A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D2810CC4-37DD-4098-B480-A9367D6C2BF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1191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E5FE33E-5D95-1744-B094-A3C28B77B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65594A2E-4492-344A-8B40-1BFBD5861B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Rectangle: Rounded Corners 4">
            <a:extLst>
              <a:ext uri="{FF2B5EF4-FFF2-40B4-BE49-F238E27FC236}">
                <a16:creationId xmlns:a16="http://schemas.microsoft.com/office/drawing/2014/main" id="{9893BD0E-3A3E-BD41-B7DE-5212283E2ECA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Pladsholder til tekst 2">
            <a:extLst>
              <a:ext uri="{FF2B5EF4-FFF2-40B4-BE49-F238E27FC236}">
                <a16:creationId xmlns:a16="http://schemas.microsoft.com/office/drawing/2014/main" id="{CB61AA2A-4289-854C-8A13-FA90963304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103B79C-2BE6-4505-B40B-761AA9656C13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5CA98579-4E41-4F93-9771-D2FCC001C3C5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EB67C8A-2671-427B-B957-DF052AB0E21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EF3774B-225D-452D-9169-2D4E908AB3D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4955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9C81AE8B-1051-FA49-87F3-C81703A43A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13310A9-AA77-3643-AE68-9DAA9F364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DK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50B96B-AEC1-6040-9E27-B7B421E4D1FC}"/>
              </a:ext>
            </a:extLst>
          </p:cNvPr>
          <p:cNvSpPr/>
          <p:nvPr userDrawn="1"/>
        </p:nvSpPr>
        <p:spPr>
          <a:xfrm>
            <a:off x="637447" y="2567246"/>
            <a:ext cx="2521884" cy="1001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>
                <a:solidFill>
                  <a:schemeClr val="bg1"/>
                </a:solidFill>
              </a:rPr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>
              <a:solidFill>
                <a:schemeClr val="bg1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B817331-0C03-8748-9D7B-6ED9BCA290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D6DA871-0D64-CE49-BB4D-C3255C1A5E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236FC985-A90C-8A4C-8019-FBBD95A27B4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C739A1A2-53BF-9043-B322-09852A0C4E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6891DB39-EB70-7542-B711-D969B93AA80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342F71C-7116-AD4A-A552-B060288030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1DCDBE9-4713-43C3-BFEB-A484D4D30A2C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8D843E3F-F578-4443-AECD-D844BCD18F8C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7F26C71-1958-43D0-A6F6-373B01DB8AC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B823883-8AF3-4979-993B-8B97FBF67721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116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3">
            <a:extLst>
              <a:ext uri="{FF2B5EF4-FFF2-40B4-BE49-F238E27FC236}">
                <a16:creationId xmlns:a16="http://schemas.microsoft.com/office/drawing/2014/main" id="{83FCA6A4-DB3F-7F4F-97E8-5634974F98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7D1939A8-2910-5F42-BEF6-2C5201319B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D3005A73-31E1-D54A-82D1-BB94A04E3E4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2" name="Text Placeholder 23">
            <a:extLst>
              <a:ext uri="{FF2B5EF4-FFF2-40B4-BE49-F238E27FC236}">
                <a16:creationId xmlns:a16="http://schemas.microsoft.com/office/drawing/2014/main" id="{511C200D-8E67-4F4E-889B-40EBC65860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13BC91A7-D4E9-FC40-A474-A4D58D7404A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12EB8AB6-D444-7F43-8B2F-E4BC1DFA12A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EDF23F32-816B-4040-926A-A54442A6BA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CB3BC85-35DD-A74E-81BE-B25D8290B32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951D7003-D1FE-E549-9303-32934C12CB7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A7DE023D-2F89-7242-9B5B-71F022B344D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7928D7E-1999-4487-A235-52D62A9AF896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2D2156DE-5009-4F32-AED9-FA2E28D1FE1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F4D1033-F343-4ADD-A1CF-3F90D96059A1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9EFCB35-2317-493D-BBAD-B52D568EDBBE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8335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13">
            <a:extLst>
              <a:ext uri="{FF2B5EF4-FFF2-40B4-BE49-F238E27FC236}">
                <a16:creationId xmlns:a16="http://schemas.microsoft.com/office/drawing/2014/main" id="{45238F6A-52C8-974F-B17F-8101295EB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6" name="Pladsholder til tekst 2">
            <a:extLst>
              <a:ext uri="{FF2B5EF4-FFF2-40B4-BE49-F238E27FC236}">
                <a16:creationId xmlns:a16="http://schemas.microsoft.com/office/drawing/2014/main" id="{2FBCC375-06A0-1A46-A8BA-A4A330C79C0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37" name="Pladsholder til tekst 34">
            <a:extLst>
              <a:ext uri="{FF2B5EF4-FFF2-40B4-BE49-F238E27FC236}">
                <a16:creationId xmlns:a16="http://schemas.microsoft.com/office/drawing/2014/main" id="{5F19C76C-8DD8-6B44-B3E8-BC002F492D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8" name="Pladsholder til tekst 35">
            <a:extLst>
              <a:ext uri="{FF2B5EF4-FFF2-40B4-BE49-F238E27FC236}">
                <a16:creationId xmlns:a16="http://schemas.microsoft.com/office/drawing/2014/main" id="{76C399AB-15FE-E540-94AF-AB43A2FAE6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39" name="Pladsholder til tekst 36">
            <a:extLst>
              <a:ext uri="{FF2B5EF4-FFF2-40B4-BE49-F238E27FC236}">
                <a16:creationId xmlns:a16="http://schemas.microsoft.com/office/drawing/2014/main" id="{EFF4C772-4AAB-9F46-9EBD-61C33E072E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40" name="Pladsholder til tekst 37">
            <a:extLst>
              <a:ext uri="{FF2B5EF4-FFF2-40B4-BE49-F238E27FC236}">
                <a16:creationId xmlns:a16="http://schemas.microsoft.com/office/drawing/2014/main" id="{776A41D6-CDD2-4241-869F-02EB52C5C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41" name="Pladsholder til tekst 38">
            <a:extLst>
              <a:ext uri="{FF2B5EF4-FFF2-40B4-BE49-F238E27FC236}">
                <a16:creationId xmlns:a16="http://schemas.microsoft.com/office/drawing/2014/main" id="{B09F00EF-DF7C-5E40-A472-2716A5B8409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42" name="Pladsholder til tekst 16">
            <a:extLst>
              <a:ext uri="{FF2B5EF4-FFF2-40B4-BE49-F238E27FC236}">
                <a16:creationId xmlns:a16="http://schemas.microsoft.com/office/drawing/2014/main" id="{056B7C33-9EAB-B246-BAB1-9662E477FE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43" name="Pladsholder til tekst 16">
            <a:extLst>
              <a:ext uri="{FF2B5EF4-FFF2-40B4-BE49-F238E27FC236}">
                <a16:creationId xmlns:a16="http://schemas.microsoft.com/office/drawing/2014/main" id="{E9A17027-2038-7141-AD3F-AB7EEE57E8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44" name="Pladsholder til tekst 16">
            <a:extLst>
              <a:ext uri="{FF2B5EF4-FFF2-40B4-BE49-F238E27FC236}">
                <a16:creationId xmlns:a16="http://schemas.microsoft.com/office/drawing/2014/main" id="{218993DE-5B62-004B-986C-ECF1759908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45" name="Pladsholder til tekst 16">
            <a:extLst>
              <a:ext uri="{FF2B5EF4-FFF2-40B4-BE49-F238E27FC236}">
                <a16:creationId xmlns:a16="http://schemas.microsoft.com/office/drawing/2014/main" id="{4EFEF030-D586-2C45-A0E1-631AD543097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46" name="Pladsholder til tekst 16">
            <a:extLst>
              <a:ext uri="{FF2B5EF4-FFF2-40B4-BE49-F238E27FC236}">
                <a16:creationId xmlns:a16="http://schemas.microsoft.com/office/drawing/2014/main" id="{1937029C-AC3A-FF4B-857E-F08EBBFA02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9CAEC39-4718-47F5-A4FE-2A5F24120D4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358A1E33-280C-409A-A267-D1191B1CCD0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03F062D-9E9B-43DC-B681-1A390306937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3B17900-4ACA-405A-AC0B-5B237C32503F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0034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CA25681-2B18-9F48-A280-E7FB3C178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DF83AF11-A045-F14C-9497-AD61EDB02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Thank you for listening</a:t>
            </a:r>
          </a:p>
        </p:txBody>
      </p:sp>
      <p:sp>
        <p:nvSpPr>
          <p:cNvPr id="15" name="Pladsholder til tekst 16">
            <a:extLst>
              <a:ext uri="{FF2B5EF4-FFF2-40B4-BE49-F238E27FC236}">
                <a16:creationId xmlns:a16="http://schemas.microsoft.com/office/drawing/2014/main" id="{50AD1671-BAD9-C744-870F-E65FA9FA39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6" name="Pladsholder til billede 2">
            <a:extLst>
              <a:ext uri="{FF2B5EF4-FFF2-40B4-BE49-F238E27FC236}">
                <a16:creationId xmlns:a16="http://schemas.microsoft.com/office/drawing/2014/main" id="{BA1B949A-FA55-DD4A-8DA6-DC9DFDDC62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E439BAB-9406-4423-AE0F-65DBEA4711A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3A453255-281B-4F81-8E9F-5FC27C2A1AB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EB3F965-12B4-46CC-BDD6-4271CA82FA2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365117F-570F-47DB-A322-CEB347296D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246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FCCFA42B-746F-4C2B-9E6B-176CF0F85A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4FBEEC61-1B4D-453A-8AE9-FC68BA672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5" name="Titel 13">
            <a:extLst>
              <a:ext uri="{FF2B5EF4-FFF2-40B4-BE49-F238E27FC236}">
                <a16:creationId xmlns:a16="http://schemas.microsoft.com/office/drawing/2014/main" id="{CBC9DCAF-3182-CC47-8C63-7C9BC3175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for </a:t>
            </a:r>
            <a:r>
              <a:rPr lang="da-DK" dirty="0" err="1"/>
              <a:t>listening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C48F976-03C4-4BB3-AAD9-0D955924826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ECFDE15-CD6B-4FFA-9AB6-CA91FA27BC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90CC662A-C76B-DE4C-E1D3-C078FD460812}"/>
              </a:ext>
            </a:extLst>
          </p:cNvPr>
          <p:cNvSpPr txBox="1"/>
          <p:nvPr userDrawn="1"/>
        </p:nvSpPr>
        <p:spPr>
          <a:xfrm>
            <a:off x="8561841" y="4762643"/>
            <a:ext cx="338789" cy="78749"/>
          </a:xfrm>
          <a:custGeom>
            <a:avLst/>
            <a:gdLst/>
            <a:ahLst/>
            <a:cxnLst/>
            <a:rect l="l" t="t" r="r" b="b"/>
            <a:pathLst>
              <a:path w="338789" h="78749">
                <a:moveTo>
                  <a:pt x="294531" y="52853"/>
                </a:moveTo>
                <a:cubicBezTo>
                  <a:pt x="291852" y="52853"/>
                  <a:pt x="289508" y="53095"/>
                  <a:pt x="287499" y="53578"/>
                </a:cubicBezTo>
                <a:cubicBezTo>
                  <a:pt x="285490" y="54062"/>
                  <a:pt x="283815" y="54769"/>
                  <a:pt x="282476" y="55699"/>
                </a:cubicBezTo>
                <a:cubicBezTo>
                  <a:pt x="281136" y="56629"/>
                  <a:pt x="280141" y="57746"/>
                  <a:pt x="279490" y="59048"/>
                </a:cubicBezTo>
                <a:cubicBezTo>
                  <a:pt x="278839" y="60350"/>
                  <a:pt x="278513" y="61838"/>
                  <a:pt x="278513" y="63513"/>
                </a:cubicBezTo>
                <a:cubicBezTo>
                  <a:pt x="278513" y="66415"/>
                  <a:pt x="279434" y="68731"/>
                  <a:pt x="281276" y="70461"/>
                </a:cubicBezTo>
                <a:cubicBezTo>
                  <a:pt x="283118" y="72191"/>
                  <a:pt x="285713" y="73056"/>
                  <a:pt x="289062" y="73056"/>
                </a:cubicBezTo>
                <a:cubicBezTo>
                  <a:pt x="291703" y="73056"/>
                  <a:pt x="294168" y="72377"/>
                  <a:pt x="296456" y="71019"/>
                </a:cubicBezTo>
                <a:cubicBezTo>
                  <a:pt x="298745" y="69661"/>
                  <a:pt x="301172" y="67568"/>
                  <a:pt x="303740" y="64741"/>
                </a:cubicBezTo>
                <a:lnTo>
                  <a:pt x="303740" y="52853"/>
                </a:lnTo>
                <a:close/>
                <a:moveTo>
                  <a:pt x="142019" y="29803"/>
                </a:moveTo>
                <a:cubicBezTo>
                  <a:pt x="139489" y="29803"/>
                  <a:pt x="137266" y="30277"/>
                  <a:pt x="135350" y="31226"/>
                </a:cubicBezTo>
                <a:cubicBezTo>
                  <a:pt x="133434" y="32175"/>
                  <a:pt x="131815" y="33431"/>
                  <a:pt x="130495" y="34993"/>
                </a:cubicBezTo>
                <a:cubicBezTo>
                  <a:pt x="129174" y="36556"/>
                  <a:pt x="128160" y="38370"/>
                  <a:pt x="127453" y="40435"/>
                </a:cubicBezTo>
                <a:cubicBezTo>
                  <a:pt x="126746" y="42500"/>
                  <a:pt x="126337" y="44649"/>
                  <a:pt x="126225" y="46881"/>
                </a:cubicBezTo>
                <a:lnTo>
                  <a:pt x="156921" y="46881"/>
                </a:lnTo>
                <a:cubicBezTo>
                  <a:pt x="157032" y="41523"/>
                  <a:pt x="155805" y="37338"/>
                  <a:pt x="153237" y="34324"/>
                </a:cubicBezTo>
                <a:cubicBezTo>
                  <a:pt x="150670" y="31310"/>
                  <a:pt x="146931" y="29803"/>
                  <a:pt x="142019" y="29803"/>
                </a:cubicBezTo>
                <a:close/>
                <a:moveTo>
                  <a:pt x="291740" y="24110"/>
                </a:moveTo>
                <a:cubicBezTo>
                  <a:pt x="295201" y="24110"/>
                  <a:pt x="298122" y="24529"/>
                  <a:pt x="300503" y="25366"/>
                </a:cubicBezTo>
                <a:cubicBezTo>
                  <a:pt x="302884" y="26203"/>
                  <a:pt x="304809" y="27403"/>
                  <a:pt x="306279" y="28966"/>
                </a:cubicBezTo>
                <a:cubicBezTo>
                  <a:pt x="307749" y="30529"/>
                  <a:pt x="308800" y="32454"/>
                  <a:pt x="309432" y="34742"/>
                </a:cubicBezTo>
                <a:cubicBezTo>
                  <a:pt x="310065" y="37031"/>
                  <a:pt x="310381" y="39626"/>
                  <a:pt x="310381" y="42528"/>
                </a:cubicBezTo>
                <a:lnTo>
                  <a:pt x="310381" y="76684"/>
                </a:lnTo>
                <a:cubicBezTo>
                  <a:pt x="310381" y="77056"/>
                  <a:pt x="310260" y="77344"/>
                  <a:pt x="310018" y="77549"/>
                </a:cubicBezTo>
                <a:cubicBezTo>
                  <a:pt x="309777" y="77754"/>
                  <a:pt x="309460" y="77903"/>
                  <a:pt x="309070" y="77996"/>
                </a:cubicBezTo>
                <a:cubicBezTo>
                  <a:pt x="308679" y="78089"/>
                  <a:pt x="308149" y="78135"/>
                  <a:pt x="307479" y="78135"/>
                </a:cubicBezTo>
                <a:cubicBezTo>
                  <a:pt x="306847" y="78135"/>
                  <a:pt x="306307" y="78089"/>
                  <a:pt x="305861" y="77996"/>
                </a:cubicBezTo>
                <a:cubicBezTo>
                  <a:pt x="305414" y="77903"/>
                  <a:pt x="305070" y="77754"/>
                  <a:pt x="304828" y="77549"/>
                </a:cubicBezTo>
                <a:cubicBezTo>
                  <a:pt x="304586" y="77344"/>
                  <a:pt x="304465" y="77056"/>
                  <a:pt x="304465" y="76684"/>
                </a:cubicBezTo>
                <a:lnTo>
                  <a:pt x="304465" y="71047"/>
                </a:lnTo>
                <a:cubicBezTo>
                  <a:pt x="302196" y="73503"/>
                  <a:pt x="299694" y="75400"/>
                  <a:pt x="296959" y="76740"/>
                </a:cubicBezTo>
                <a:cubicBezTo>
                  <a:pt x="294224" y="78079"/>
                  <a:pt x="291387" y="78749"/>
                  <a:pt x="288448" y="78749"/>
                </a:cubicBezTo>
                <a:cubicBezTo>
                  <a:pt x="285806" y="78749"/>
                  <a:pt x="283434" y="78405"/>
                  <a:pt x="281332" y="77717"/>
                </a:cubicBezTo>
                <a:cubicBezTo>
                  <a:pt x="279230" y="77028"/>
                  <a:pt x="277453" y="76042"/>
                  <a:pt x="276002" y="74759"/>
                </a:cubicBezTo>
                <a:cubicBezTo>
                  <a:pt x="274551" y="73475"/>
                  <a:pt x="273435" y="71922"/>
                  <a:pt x="272653" y="70098"/>
                </a:cubicBezTo>
                <a:cubicBezTo>
                  <a:pt x="271872" y="68275"/>
                  <a:pt x="271481" y="66229"/>
                  <a:pt x="271481" y="63959"/>
                </a:cubicBezTo>
                <a:cubicBezTo>
                  <a:pt x="271481" y="61169"/>
                  <a:pt x="272058" y="58741"/>
                  <a:pt x="273211" y="56676"/>
                </a:cubicBezTo>
                <a:cubicBezTo>
                  <a:pt x="274365" y="54611"/>
                  <a:pt x="276002" y="52890"/>
                  <a:pt x="278123" y="51513"/>
                </a:cubicBezTo>
                <a:cubicBezTo>
                  <a:pt x="280244" y="50137"/>
                  <a:pt x="282792" y="49104"/>
                  <a:pt x="285769" y="48416"/>
                </a:cubicBezTo>
                <a:cubicBezTo>
                  <a:pt x="288745" y="47728"/>
                  <a:pt x="292057" y="47383"/>
                  <a:pt x="295703" y="47383"/>
                </a:cubicBezTo>
                <a:lnTo>
                  <a:pt x="303740" y="47383"/>
                </a:lnTo>
                <a:lnTo>
                  <a:pt x="303740" y="43030"/>
                </a:lnTo>
                <a:cubicBezTo>
                  <a:pt x="303740" y="40872"/>
                  <a:pt x="303517" y="38965"/>
                  <a:pt x="303070" y="37310"/>
                </a:cubicBezTo>
                <a:cubicBezTo>
                  <a:pt x="302624" y="35654"/>
                  <a:pt x="301898" y="34268"/>
                  <a:pt x="300893" y="33152"/>
                </a:cubicBezTo>
                <a:cubicBezTo>
                  <a:pt x="299889" y="32035"/>
                  <a:pt x="298587" y="31198"/>
                  <a:pt x="296987" y="30640"/>
                </a:cubicBezTo>
                <a:cubicBezTo>
                  <a:pt x="295387" y="30082"/>
                  <a:pt x="293433" y="29803"/>
                  <a:pt x="291127" y="29803"/>
                </a:cubicBezTo>
                <a:cubicBezTo>
                  <a:pt x="288894" y="29803"/>
                  <a:pt x="286885" y="30073"/>
                  <a:pt x="285099" y="30612"/>
                </a:cubicBezTo>
                <a:cubicBezTo>
                  <a:pt x="283313" y="31152"/>
                  <a:pt x="281750" y="31756"/>
                  <a:pt x="280411" y="32426"/>
                </a:cubicBezTo>
                <a:cubicBezTo>
                  <a:pt x="279072" y="33096"/>
                  <a:pt x="277965" y="33700"/>
                  <a:pt x="277090" y="34240"/>
                </a:cubicBezTo>
                <a:cubicBezTo>
                  <a:pt x="276216" y="34780"/>
                  <a:pt x="275593" y="35049"/>
                  <a:pt x="275221" y="35049"/>
                </a:cubicBezTo>
                <a:cubicBezTo>
                  <a:pt x="274997" y="35049"/>
                  <a:pt x="274793" y="35012"/>
                  <a:pt x="274607" y="34938"/>
                </a:cubicBezTo>
                <a:cubicBezTo>
                  <a:pt x="274421" y="34863"/>
                  <a:pt x="274262" y="34724"/>
                  <a:pt x="274132" y="34519"/>
                </a:cubicBezTo>
                <a:cubicBezTo>
                  <a:pt x="274002" y="34314"/>
                  <a:pt x="273909" y="34054"/>
                  <a:pt x="273853" y="33738"/>
                </a:cubicBezTo>
                <a:cubicBezTo>
                  <a:pt x="273797" y="33421"/>
                  <a:pt x="273770" y="33040"/>
                  <a:pt x="273770" y="32594"/>
                </a:cubicBezTo>
                <a:cubicBezTo>
                  <a:pt x="273770" y="31812"/>
                  <a:pt x="273825" y="31189"/>
                  <a:pt x="273937" y="30724"/>
                </a:cubicBezTo>
                <a:cubicBezTo>
                  <a:pt x="274049" y="30259"/>
                  <a:pt x="274337" y="29794"/>
                  <a:pt x="274802" y="29329"/>
                </a:cubicBezTo>
                <a:cubicBezTo>
                  <a:pt x="275267" y="28864"/>
                  <a:pt x="276095" y="28315"/>
                  <a:pt x="277286" y="27682"/>
                </a:cubicBezTo>
                <a:cubicBezTo>
                  <a:pt x="278476" y="27050"/>
                  <a:pt x="279844" y="26464"/>
                  <a:pt x="281388" y="25924"/>
                </a:cubicBezTo>
                <a:cubicBezTo>
                  <a:pt x="282932" y="25385"/>
                  <a:pt x="284597" y="24948"/>
                  <a:pt x="286383" y="24613"/>
                </a:cubicBezTo>
                <a:cubicBezTo>
                  <a:pt x="288169" y="24278"/>
                  <a:pt x="289955" y="24110"/>
                  <a:pt x="291740" y="24110"/>
                </a:cubicBezTo>
                <a:close/>
                <a:moveTo>
                  <a:pt x="241009" y="24110"/>
                </a:moveTo>
                <a:cubicBezTo>
                  <a:pt x="244320" y="24110"/>
                  <a:pt x="247111" y="24668"/>
                  <a:pt x="249380" y="25785"/>
                </a:cubicBezTo>
                <a:cubicBezTo>
                  <a:pt x="251650" y="26901"/>
                  <a:pt x="253482" y="28408"/>
                  <a:pt x="254878" y="30305"/>
                </a:cubicBezTo>
                <a:cubicBezTo>
                  <a:pt x="256273" y="32203"/>
                  <a:pt x="257278" y="34417"/>
                  <a:pt x="257891" y="36947"/>
                </a:cubicBezTo>
                <a:cubicBezTo>
                  <a:pt x="258505" y="39477"/>
                  <a:pt x="258812" y="42528"/>
                  <a:pt x="258812" y="46100"/>
                </a:cubicBezTo>
                <a:lnTo>
                  <a:pt x="258812" y="76684"/>
                </a:lnTo>
                <a:cubicBezTo>
                  <a:pt x="258812" y="76907"/>
                  <a:pt x="258756" y="77112"/>
                  <a:pt x="258645" y="77298"/>
                </a:cubicBezTo>
                <a:cubicBezTo>
                  <a:pt x="258533" y="77484"/>
                  <a:pt x="258356" y="77633"/>
                  <a:pt x="258115" y="77744"/>
                </a:cubicBezTo>
                <a:cubicBezTo>
                  <a:pt x="257873" y="77856"/>
                  <a:pt x="257538" y="77949"/>
                  <a:pt x="257110" y="78023"/>
                </a:cubicBezTo>
                <a:cubicBezTo>
                  <a:pt x="256682" y="78098"/>
                  <a:pt x="256152" y="78135"/>
                  <a:pt x="255519" y="78135"/>
                </a:cubicBezTo>
                <a:cubicBezTo>
                  <a:pt x="254850" y="78135"/>
                  <a:pt x="254301" y="78098"/>
                  <a:pt x="253873" y="78023"/>
                </a:cubicBezTo>
                <a:cubicBezTo>
                  <a:pt x="253445" y="77949"/>
                  <a:pt x="253110" y="77856"/>
                  <a:pt x="252868" y="77744"/>
                </a:cubicBezTo>
                <a:cubicBezTo>
                  <a:pt x="252627" y="77633"/>
                  <a:pt x="252450" y="77484"/>
                  <a:pt x="252338" y="77298"/>
                </a:cubicBezTo>
                <a:cubicBezTo>
                  <a:pt x="252227" y="77112"/>
                  <a:pt x="252171" y="76907"/>
                  <a:pt x="252171" y="76684"/>
                </a:cubicBezTo>
                <a:lnTo>
                  <a:pt x="252171" y="46714"/>
                </a:lnTo>
                <a:cubicBezTo>
                  <a:pt x="252171" y="43588"/>
                  <a:pt x="251929" y="41049"/>
                  <a:pt x="251445" y="39096"/>
                </a:cubicBezTo>
                <a:cubicBezTo>
                  <a:pt x="250962" y="37142"/>
                  <a:pt x="250236" y="35468"/>
                  <a:pt x="249269" y="34073"/>
                </a:cubicBezTo>
                <a:cubicBezTo>
                  <a:pt x="248301" y="32677"/>
                  <a:pt x="247064" y="31598"/>
                  <a:pt x="245557" y="30836"/>
                </a:cubicBezTo>
                <a:cubicBezTo>
                  <a:pt x="244050" y="30073"/>
                  <a:pt x="242292" y="29691"/>
                  <a:pt x="240283" y="29691"/>
                </a:cubicBezTo>
                <a:cubicBezTo>
                  <a:pt x="237716" y="29691"/>
                  <a:pt x="235149" y="30603"/>
                  <a:pt x="232581" y="32426"/>
                </a:cubicBezTo>
                <a:cubicBezTo>
                  <a:pt x="230014" y="34249"/>
                  <a:pt x="227317" y="36928"/>
                  <a:pt x="224489" y="40463"/>
                </a:cubicBezTo>
                <a:lnTo>
                  <a:pt x="224489" y="76684"/>
                </a:lnTo>
                <a:cubicBezTo>
                  <a:pt x="224489" y="76907"/>
                  <a:pt x="224433" y="77112"/>
                  <a:pt x="224321" y="77298"/>
                </a:cubicBezTo>
                <a:cubicBezTo>
                  <a:pt x="224210" y="77484"/>
                  <a:pt x="224033" y="77633"/>
                  <a:pt x="223791" y="77744"/>
                </a:cubicBezTo>
                <a:cubicBezTo>
                  <a:pt x="223549" y="77856"/>
                  <a:pt x="223214" y="77949"/>
                  <a:pt x="222787" y="78023"/>
                </a:cubicBezTo>
                <a:cubicBezTo>
                  <a:pt x="222359" y="78098"/>
                  <a:pt x="221810" y="78135"/>
                  <a:pt x="221140" y="78135"/>
                </a:cubicBezTo>
                <a:cubicBezTo>
                  <a:pt x="220508" y="78135"/>
                  <a:pt x="219977" y="78098"/>
                  <a:pt x="219550" y="78023"/>
                </a:cubicBezTo>
                <a:cubicBezTo>
                  <a:pt x="219122" y="77949"/>
                  <a:pt x="218778" y="77856"/>
                  <a:pt x="218517" y="77744"/>
                </a:cubicBezTo>
                <a:cubicBezTo>
                  <a:pt x="218257" y="77633"/>
                  <a:pt x="218080" y="77484"/>
                  <a:pt x="217987" y="77298"/>
                </a:cubicBezTo>
                <a:cubicBezTo>
                  <a:pt x="217894" y="77112"/>
                  <a:pt x="217847" y="76907"/>
                  <a:pt x="217847" y="76684"/>
                </a:cubicBezTo>
                <a:lnTo>
                  <a:pt x="217847" y="26175"/>
                </a:lnTo>
                <a:cubicBezTo>
                  <a:pt x="217847" y="25952"/>
                  <a:pt x="217894" y="25747"/>
                  <a:pt x="217987" y="25561"/>
                </a:cubicBezTo>
                <a:cubicBezTo>
                  <a:pt x="218080" y="25375"/>
                  <a:pt x="218257" y="25217"/>
                  <a:pt x="218517" y="25087"/>
                </a:cubicBezTo>
                <a:cubicBezTo>
                  <a:pt x="218778" y="24957"/>
                  <a:pt x="219103" y="24864"/>
                  <a:pt x="219494" y="24808"/>
                </a:cubicBezTo>
                <a:cubicBezTo>
                  <a:pt x="219884" y="24752"/>
                  <a:pt x="220396" y="24724"/>
                  <a:pt x="221029" y="24724"/>
                </a:cubicBezTo>
                <a:cubicBezTo>
                  <a:pt x="221661" y="24724"/>
                  <a:pt x="222182" y="24752"/>
                  <a:pt x="222591" y="24808"/>
                </a:cubicBezTo>
                <a:cubicBezTo>
                  <a:pt x="223001" y="24864"/>
                  <a:pt x="223317" y="24957"/>
                  <a:pt x="223540" y="25087"/>
                </a:cubicBezTo>
                <a:cubicBezTo>
                  <a:pt x="223763" y="25217"/>
                  <a:pt x="223921" y="25375"/>
                  <a:pt x="224014" y="25561"/>
                </a:cubicBezTo>
                <a:cubicBezTo>
                  <a:pt x="224107" y="25747"/>
                  <a:pt x="224154" y="25952"/>
                  <a:pt x="224154" y="26175"/>
                </a:cubicBezTo>
                <a:lnTo>
                  <a:pt x="224154" y="33319"/>
                </a:lnTo>
                <a:cubicBezTo>
                  <a:pt x="227056" y="30082"/>
                  <a:pt x="229902" y="27738"/>
                  <a:pt x="232693" y="26287"/>
                </a:cubicBezTo>
                <a:cubicBezTo>
                  <a:pt x="235483" y="24836"/>
                  <a:pt x="238255" y="24110"/>
                  <a:pt x="241009" y="24110"/>
                </a:cubicBezTo>
                <a:close/>
                <a:moveTo>
                  <a:pt x="200118" y="24110"/>
                </a:moveTo>
                <a:cubicBezTo>
                  <a:pt x="200602" y="24110"/>
                  <a:pt x="201160" y="24138"/>
                  <a:pt x="201793" y="24194"/>
                </a:cubicBezTo>
                <a:cubicBezTo>
                  <a:pt x="202425" y="24250"/>
                  <a:pt x="203104" y="24352"/>
                  <a:pt x="203830" y="24501"/>
                </a:cubicBezTo>
                <a:cubicBezTo>
                  <a:pt x="204555" y="24650"/>
                  <a:pt x="205206" y="24827"/>
                  <a:pt x="205783" y="25031"/>
                </a:cubicBezTo>
                <a:cubicBezTo>
                  <a:pt x="206360" y="25236"/>
                  <a:pt x="206760" y="25422"/>
                  <a:pt x="206983" y="25589"/>
                </a:cubicBezTo>
                <a:cubicBezTo>
                  <a:pt x="207206" y="25757"/>
                  <a:pt x="207355" y="25906"/>
                  <a:pt x="207429" y="26036"/>
                </a:cubicBezTo>
                <a:cubicBezTo>
                  <a:pt x="207504" y="26166"/>
                  <a:pt x="207569" y="26334"/>
                  <a:pt x="207625" y="26538"/>
                </a:cubicBezTo>
                <a:cubicBezTo>
                  <a:pt x="207681" y="26743"/>
                  <a:pt x="207718" y="27022"/>
                  <a:pt x="207736" y="27375"/>
                </a:cubicBezTo>
                <a:cubicBezTo>
                  <a:pt x="207755" y="27729"/>
                  <a:pt x="207764" y="28185"/>
                  <a:pt x="207764" y="28743"/>
                </a:cubicBezTo>
                <a:cubicBezTo>
                  <a:pt x="207764" y="29301"/>
                  <a:pt x="207746" y="29775"/>
                  <a:pt x="207708" y="30166"/>
                </a:cubicBezTo>
                <a:cubicBezTo>
                  <a:pt x="207671" y="30557"/>
                  <a:pt x="207606" y="30873"/>
                  <a:pt x="207513" y="31115"/>
                </a:cubicBezTo>
                <a:cubicBezTo>
                  <a:pt x="207420" y="31356"/>
                  <a:pt x="207308" y="31542"/>
                  <a:pt x="207178" y="31673"/>
                </a:cubicBezTo>
                <a:cubicBezTo>
                  <a:pt x="207048" y="31803"/>
                  <a:pt x="206871" y="31868"/>
                  <a:pt x="206648" y="31868"/>
                </a:cubicBezTo>
                <a:cubicBezTo>
                  <a:pt x="206313" y="31868"/>
                  <a:pt x="205922" y="31784"/>
                  <a:pt x="205476" y="31617"/>
                </a:cubicBezTo>
                <a:cubicBezTo>
                  <a:pt x="205030" y="31449"/>
                  <a:pt x="204509" y="31273"/>
                  <a:pt x="203913" y="31087"/>
                </a:cubicBezTo>
                <a:cubicBezTo>
                  <a:pt x="203318" y="30901"/>
                  <a:pt x="202667" y="30724"/>
                  <a:pt x="201960" y="30557"/>
                </a:cubicBezTo>
                <a:cubicBezTo>
                  <a:pt x="201253" y="30389"/>
                  <a:pt x="200472" y="30305"/>
                  <a:pt x="199616" y="30305"/>
                </a:cubicBezTo>
                <a:cubicBezTo>
                  <a:pt x="198611" y="30305"/>
                  <a:pt x="197625" y="30519"/>
                  <a:pt x="196658" y="30947"/>
                </a:cubicBezTo>
                <a:cubicBezTo>
                  <a:pt x="195691" y="31375"/>
                  <a:pt x="194677" y="32063"/>
                  <a:pt x="193616" y="33012"/>
                </a:cubicBezTo>
                <a:cubicBezTo>
                  <a:pt x="192556" y="33961"/>
                  <a:pt x="191440" y="35217"/>
                  <a:pt x="190268" y="36779"/>
                </a:cubicBezTo>
                <a:cubicBezTo>
                  <a:pt x="189096" y="38342"/>
                  <a:pt x="187803" y="40258"/>
                  <a:pt x="186389" y="42528"/>
                </a:cubicBezTo>
                <a:lnTo>
                  <a:pt x="186389" y="76684"/>
                </a:lnTo>
                <a:cubicBezTo>
                  <a:pt x="186389" y="76907"/>
                  <a:pt x="186333" y="77112"/>
                  <a:pt x="186221" y="77298"/>
                </a:cubicBezTo>
                <a:cubicBezTo>
                  <a:pt x="186110" y="77484"/>
                  <a:pt x="185933" y="77633"/>
                  <a:pt x="185691" y="77744"/>
                </a:cubicBezTo>
                <a:cubicBezTo>
                  <a:pt x="185449" y="77856"/>
                  <a:pt x="185114" y="77949"/>
                  <a:pt x="184687" y="78023"/>
                </a:cubicBezTo>
                <a:cubicBezTo>
                  <a:pt x="184259" y="78098"/>
                  <a:pt x="183710" y="78135"/>
                  <a:pt x="183040" y="78135"/>
                </a:cubicBezTo>
                <a:cubicBezTo>
                  <a:pt x="182408" y="78135"/>
                  <a:pt x="181877" y="78098"/>
                  <a:pt x="181450" y="78023"/>
                </a:cubicBezTo>
                <a:cubicBezTo>
                  <a:pt x="181022" y="77949"/>
                  <a:pt x="180678" y="77856"/>
                  <a:pt x="180417" y="77744"/>
                </a:cubicBezTo>
                <a:cubicBezTo>
                  <a:pt x="180157" y="77633"/>
                  <a:pt x="179980" y="77484"/>
                  <a:pt x="179887" y="77298"/>
                </a:cubicBezTo>
                <a:cubicBezTo>
                  <a:pt x="179794" y="77112"/>
                  <a:pt x="179747" y="76907"/>
                  <a:pt x="179747" y="76684"/>
                </a:cubicBezTo>
                <a:lnTo>
                  <a:pt x="179747" y="26175"/>
                </a:lnTo>
                <a:cubicBezTo>
                  <a:pt x="179747" y="25952"/>
                  <a:pt x="179794" y="25747"/>
                  <a:pt x="179887" y="25561"/>
                </a:cubicBezTo>
                <a:cubicBezTo>
                  <a:pt x="179980" y="25375"/>
                  <a:pt x="180157" y="25217"/>
                  <a:pt x="180417" y="25087"/>
                </a:cubicBezTo>
                <a:cubicBezTo>
                  <a:pt x="180678" y="24957"/>
                  <a:pt x="181003" y="24864"/>
                  <a:pt x="181394" y="24808"/>
                </a:cubicBezTo>
                <a:cubicBezTo>
                  <a:pt x="181784" y="24752"/>
                  <a:pt x="182296" y="24724"/>
                  <a:pt x="182929" y="24724"/>
                </a:cubicBezTo>
                <a:cubicBezTo>
                  <a:pt x="183561" y="24724"/>
                  <a:pt x="184082" y="24752"/>
                  <a:pt x="184491" y="24808"/>
                </a:cubicBezTo>
                <a:cubicBezTo>
                  <a:pt x="184901" y="24864"/>
                  <a:pt x="185217" y="24957"/>
                  <a:pt x="185440" y="25087"/>
                </a:cubicBezTo>
                <a:cubicBezTo>
                  <a:pt x="185663" y="25217"/>
                  <a:pt x="185821" y="25375"/>
                  <a:pt x="185914" y="25561"/>
                </a:cubicBezTo>
                <a:cubicBezTo>
                  <a:pt x="186007" y="25747"/>
                  <a:pt x="186054" y="25952"/>
                  <a:pt x="186054" y="26175"/>
                </a:cubicBezTo>
                <a:lnTo>
                  <a:pt x="186054" y="34156"/>
                </a:lnTo>
                <a:cubicBezTo>
                  <a:pt x="187505" y="32035"/>
                  <a:pt x="188844" y="30324"/>
                  <a:pt x="190072" y="29022"/>
                </a:cubicBezTo>
                <a:cubicBezTo>
                  <a:pt x="191300" y="27719"/>
                  <a:pt x="192472" y="26706"/>
                  <a:pt x="193588" y="25980"/>
                </a:cubicBezTo>
                <a:cubicBezTo>
                  <a:pt x="194705" y="25255"/>
                  <a:pt x="195793" y="24762"/>
                  <a:pt x="196853" y="24501"/>
                </a:cubicBezTo>
                <a:cubicBezTo>
                  <a:pt x="197914" y="24241"/>
                  <a:pt x="199002" y="24110"/>
                  <a:pt x="200118" y="24110"/>
                </a:cubicBezTo>
                <a:close/>
                <a:moveTo>
                  <a:pt x="142466" y="24110"/>
                </a:moveTo>
                <a:cubicBezTo>
                  <a:pt x="146261" y="24110"/>
                  <a:pt x="149498" y="24743"/>
                  <a:pt x="152177" y="26008"/>
                </a:cubicBezTo>
                <a:cubicBezTo>
                  <a:pt x="154856" y="27273"/>
                  <a:pt x="157060" y="28975"/>
                  <a:pt x="158790" y="31115"/>
                </a:cubicBezTo>
                <a:cubicBezTo>
                  <a:pt x="160521" y="33254"/>
                  <a:pt x="161786" y="35738"/>
                  <a:pt x="162586" y="38565"/>
                </a:cubicBezTo>
                <a:cubicBezTo>
                  <a:pt x="163386" y="41393"/>
                  <a:pt x="163786" y="44370"/>
                  <a:pt x="163786" y="47495"/>
                </a:cubicBezTo>
                <a:lnTo>
                  <a:pt x="163786" y="48835"/>
                </a:lnTo>
                <a:cubicBezTo>
                  <a:pt x="163786" y="50174"/>
                  <a:pt x="163432" y="51095"/>
                  <a:pt x="162725" y="51597"/>
                </a:cubicBezTo>
                <a:cubicBezTo>
                  <a:pt x="162018" y="52099"/>
                  <a:pt x="161330" y="52351"/>
                  <a:pt x="160660" y="52351"/>
                </a:cubicBezTo>
                <a:lnTo>
                  <a:pt x="126225" y="52351"/>
                </a:lnTo>
                <a:cubicBezTo>
                  <a:pt x="126225" y="55476"/>
                  <a:pt x="126532" y="58304"/>
                  <a:pt x="127146" y="60834"/>
                </a:cubicBezTo>
                <a:cubicBezTo>
                  <a:pt x="127760" y="63364"/>
                  <a:pt x="128774" y="65531"/>
                  <a:pt x="130188" y="67336"/>
                </a:cubicBezTo>
                <a:cubicBezTo>
                  <a:pt x="131601" y="69140"/>
                  <a:pt x="133443" y="70526"/>
                  <a:pt x="135713" y="71494"/>
                </a:cubicBezTo>
                <a:cubicBezTo>
                  <a:pt x="137982" y="72461"/>
                  <a:pt x="140773" y="72945"/>
                  <a:pt x="144084" y="72945"/>
                </a:cubicBezTo>
                <a:cubicBezTo>
                  <a:pt x="146428" y="72945"/>
                  <a:pt x="148531" y="72740"/>
                  <a:pt x="150391" y="72331"/>
                </a:cubicBezTo>
                <a:cubicBezTo>
                  <a:pt x="152251" y="71922"/>
                  <a:pt x="153861" y="71466"/>
                  <a:pt x="155219" y="70963"/>
                </a:cubicBezTo>
                <a:cubicBezTo>
                  <a:pt x="156577" y="70461"/>
                  <a:pt x="157693" y="70005"/>
                  <a:pt x="158567" y="69596"/>
                </a:cubicBezTo>
                <a:cubicBezTo>
                  <a:pt x="159442" y="69187"/>
                  <a:pt x="160065" y="68982"/>
                  <a:pt x="160437" y="68982"/>
                </a:cubicBezTo>
                <a:cubicBezTo>
                  <a:pt x="160660" y="68982"/>
                  <a:pt x="160865" y="69038"/>
                  <a:pt x="161051" y="69150"/>
                </a:cubicBezTo>
                <a:cubicBezTo>
                  <a:pt x="161237" y="69261"/>
                  <a:pt x="161386" y="69438"/>
                  <a:pt x="161497" y="69680"/>
                </a:cubicBezTo>
                <a:cubicBezTo>
                  <a:pt x="161609" y="69922"/>
                  <a:pt x="161693" y="70229"/>
                  <a:pt x="161748" y="70601"/>
                </a:cubicBezTo>
                <a:cubicBezTo>
                  <a:pt x="161804" y="70973"/>
                  <a:pt x="161832" y="71438"/>
                  <a:pt x="161832" y="71996"/>
                </a:cubicBezTo>
                <a:cubicBezTo>
                  <a:pt x="161832" y="72256"/>
                  <a:pt x="161814" y="72508"/>
                  <a:pt x="161776" y="72749"/>
                </a:cubicBezTo>
                <a:cubicBezTo>
                  <a:pt x="161739" y="72991"/>
                  <a:pt x="161693" y="73214"/>
                  <a:pt x="161637" y="73419"/>
                </a:cubicBezTo>
                <a:cubicBezTo>
                  <a:pt x="161581" y="73624"/>
                  <a:pt x="161497" y="73819"/>
                  <a:pt x="161386" y="74005"/>
                </a:cubicBezTo>
                <a:cubicBezTo>
                  <a:pt x="161274" y="74191"/>
                  <a:pt x="161125" y="74377"/>
                  <a:pt x="160939" y="74563"/>
                </a:cubicBezTo>
                <a:cubicBezTo>
                  <a:pt x="160753" y="74749"/>
                  <a:pt x="160176" y="75075"/>
                  <a:pt x="159209" y="75540"/>
                </a:cubicBezTo>
                <a:cubicBezTo>
                  <a:pt x="158242" y="76005"/>
                  <a:pt x="156977" y="76470"/>
                  <a:pt x="155414" y="76935"/>
                </a:cubicBezTo>
                <a:cubicBezTo>
                  <a:pt x="153851" y="77400"/>
                  <a:pt x="152037" y="77819"/>
                  <a:pt x="149972" y="78191"/>
                </a:cubicBezTo>
                <a:cubicBezTo>
                  <a:pt x="147907" y="78563"/>
                  <a:pt x="145684" y="78749"/>
                  <a:pt x="143303" y="78749"/>
                </a:cubicBezTo>
                <a:cubicBezTo>
                  <a:pt x="139396" y="78749"/>
                  <a:pt x="135936" y="78163"/>
                  <a:pt x="132922" y="76991"/>
                </a:cubicBezTo>
                <a:cubicBezTo>
                  <a:pt x="129909" y="75819"/>
                  <a:pt x="127378" y="74089"/>
                  <a:pt x="125332" y="71801"/>
                </a:cubicBezTo>
                <a:cubicBezTo>
                  <a:pt x="123286" y="69512"/>
                  <a:pt x="121732" y="66675"/>
                  <a:pt x="120672" y="63290"/>
                </a:cubicBezTo>
                <a:cubicBezTo>
                  <a:pt x="119612" y="59904"/>
                  <a:pt x="119081" y="55978"/>
                  <a:pt x="119081" y="51513"/>
                </a:cubicBezTo>
                <a:cubicBezTo>
                  <a:pt x="119081" y="47235"/>
                  <a:pt x="119630" y="43402"/>
                  <a:pt x="120728" y="40017"/>
                </a:cubicBezTo>
                <a:cubicBezTo>
                  <a:pt x="121825" y="36631"/>
                  <a:pt x="123397" y="33756"/>
                  <a:pt x="125444" y="31394"/>
                </a:cubicBezTo>
                <a:cubicBezTo>
                  <a:pt x="127490" y="29031"/>
                  <a:pt x="129955" y="27226"/>
                  <a:pt x="132839" y="25980"/>
                </a:cubicBezTo>
                <a:cubicBezTo>
                  <a:pt x="135722" y="24734"/>
                  <a:pt x="138931" y="24110"/>
                  <a:pt x="142466" y="24110"/>
                </a:cubicBezTo>
                <a:close/>
                <a:moveTo>
                  <a:pt x="50509" y="24110"/>
                </a:moveTo>
                <a:cubicBezTo>
                  <a:pt x="53820" y="24110"/>
                  <a:pt x="56611" y="24668"/>
                  <a:pt x="58880" y="25785"/>
                </a:cubicBezTo>
                <a:cubicBezTo>
                  <a:pt x="61150" y="26901"/>
                  <a:pt x="62982" y="28408"/>
                  <a:pt x="64378" y="30305"/>
                </a:cubicBezTo>
                <a:cubicBezTo>
                  <a:pt x="65773" y="32203"/>
                  <a:pt x="66778" y="34417"/>
                  <a:pt x="67391" y="36947"/>
                </a:cubicBezTo>
                <a:cubicBezTo>
                  <a:pt x="68005" y="39477"/>
                  <a:pt x="68312" y="42528"/>
                  <a:pt x="68312" y="46100"/>
                </a:cubicBezTo>
                <a:lnTo>
                  <a:pt x="68312" y="76684"/>
                </a:lnTo>
                <a:cubicBezTo>
                  <a:pt x="68312" y="76907"/>
                  <a:pt x="68256" y="77112"/>
                  <a:pt x="68145" y="77298"/>
                </a:cubicBezTo>
                <a:cubicBezTo>
                  <a:pt x="68033" y="77484"/>
                  <a:pt x="67857" y="77633"/>
                  <a:pt x="67615" y="77744"/>
                </a:cubicBezTo>
                <a:cubicBezTo>
                  <a:pt x="67373" y="77856"/>
                  <a:pt x="67038" y="77949"/>
                  <a:pt x="66610" y="78023"/>
                </a:cubicBezTo>
                <a:cubicBezTo>
                  <a:pt x="66182" y="78098"/>
                  <a:pt x="65652" y="78135"/>
                  <a:pt x="65019" y="78135"/>
                </a:cubicBezTo>
                <a:cubicBezTo>
                  <a:pt x="64350" y="78135"/>
                  <a:pt x="63801" y="78098"/>
                  <a:pt x="63373" y="78023"/>
                </a:cubicBezTo>
                <a:cubicBezTo>
                  <a:pt x="62945" y="77949"/>
                  <a:pt x="62610" y="77856"/>
                  <a:pt x="62368" y="77744"/>
                </a:cubicBezTo>
                <a:cubicBezTo>
                  <a:pt x="62127" y="77633"/>
                  <a:pt x="61950" y="77484"/>
                  <a:pt x="61838" y="77298"/>
                </a:cubicBezTo>
                <a:cubicBezTo>
                  <a:pt x="61727" y="77112"/>
                  <a:pt x="61671" y="76907"/>
                  <a:pt x="61671" y="76684"/>
                </a:cubicBezTo>
                <a:lnTo>
                  <a:pt x="61671" y="46714"/>
                </a:lnTo>
                <a:cubicBezTo>
                  <a:pt x="61671" y="43588"/>
                  <a:pt x="61429" y="41049"/>
                  <a:pt x="60945" y="39096"/>
                </a:cubicBezTo>
                <a:cubicBezTo>
                  <a:pt x="60462" y="37142"/>
                  <a:pt x="59736" y="35468"/>
                  <a:pt x="58769" y="34073"/>
                </a:cubicBezTo>
                <a:cubicBezTo>
                  <a:pt x="57801" y="32677"/>
                  <a:pt x="56564" y="31598"/>
                  <a:pt x="55057" y="30836"/>
                </a:cubicBezTo>
                <a:cubicBezTo>
                  <a:pt x="53550" y="30073"/>
                  <a:pt x="51792" y="29691"/>
                  <a:pt x="49783" y="29691"/>
                </a:cubicBezTo>
                <a:cubicBezTo>
                  <a:pt x="47216" y="29691"/>
                  <a:pt x="44649" y="30603"/>
                  <a:pt x="42081" y="32426"/>
                </a:cubicBezTo>
                <a:cubicBezTo>
                  <a:pt x="39514" y="34249"/>
                  <a:pt x="36817" y="36928"/>
                  <a:pt x="33989" y="40463"/>
                </a:cubicBezTo>
                <a:lnTo>
                  <a:pt x="33989" y="76684"/>
                </a:lnTo>
                <a:cubicBezTo>
                  <a:pt x="33989" y="76907"/>
                  <a:pt x="33933" y="77112"/>
                  <a:pt x="33821" y="77298"/>
                </a:cubicBezTo>
                <a:cubicBezTo>
                  <a:pt x="33710" y="77484"/>
                  <a:pt x="33533" y="77633"/>
                  <a:pt x="33291" y="77744"/>
                </a:cubicBezTo>
                <a:cubicBezTo>
                  <a:pt x="33049" y="77856"/>
                  <a:pt x="32714" y="77949"/>
                  <a:pt x="32287" y="78023"/>
                </a:cubicBezTo>
                <a:cubicBezTo>
                  <a:pt x="31859" y="78098"/>
                  <a:pt x="31310" y="78135"/>
                  <a:pt x="30640" y="78135"/>
                </a:cubicBezTo>
                <a:cubicBezTo>
                  <a:pt x="30008" y="78135"/>
                  <a:pt x="29477" y="78098"/>
                  <a:pt x="29050" y="78023"/>
                </a:cubicBezTo>
                <a:cubicBezTo>
                  <a:pt x="28622" y="77949"/>
                  <a:pt x="28278" y="77856"/>
                  <a:pt x="28017" y="77744"/>
                </a:cubicBezTo>
                <a:cubicBezTo>
                  <a:pt x="27757" y="77633"/>
                  <a:pt x="27580" y="77484"/>
                  <a:pt x="27487" y="77298"/>
                </a:cubicBezTo>
                <a:cubicBezTo>
                  <a:pt x="27394" y="77112"/>
                  <a:pt x="27347" y="76907"/>
                  <a:pt x="27347" y="76684"/>
                </a:cubicBezTo>
                <a:lnTo>
                  <a:pt x="27347" y="26175"/>
                </a:lnTo>
                <a:cubicBezTo>
                  <a:pt x="27347" y="25952"/>
                  <a:pt x="27394" y="25747"/>
                  <a:pt x="27487" y="25561"/>
                </a:cubicBezTo>
                <a:cubicBezTo>
                  <a:pt x="27580" y="25375"/>
                  <a:pt x="27757" y="25217"/>
                  <a:pt x="28017" y="25087"/>
                </a:cubicBezTo>
                <a:cubicBezTo>
                  <a:pt x="28278" y="24957"/>
                  <a:pt x="28603" y="24864"/>
                  <a:pt x="28994" y="24808"/>
                </a:cubicBezTo>
                <a:cubicBezTo>
                  <a:pt x="29384" y="24752"/>
                  <a:pt x="29896" y="24724"/>
                  <a:pt x="30529" y="24724"/>
                </a:cubicBezTo>
                <a:cubicBezTo>
                  <a:pt x="31161" y="24724"/>
                  <a:pt x="31682" y="24752"/>
                  <a:pt x="32091" y="24808"/>
                </a:cubicBezTo>
                <a:cubicBezTo>
                  <a:pt x="32501" y="24864"/>
                  <a:pt x="32817" y="24957"/>
                  <a:pt x="33040" y="25087"/>
                </a:cubicBezTo>
                <a:cubicBezTo>
                  <a:pt x="33263" y="25217"/>
                  <a:pt x="33421" y="25375"/>
                  <a:pt x="33514" y="25561"/>
                </a:cubicBezTo>
                <a:cubicBezTo>
                  <a:pt x="33607" y="25747"/>
                  <a:pt x="33654" y="25952"/>
                  <a:pt x="33654" y="26175"/>
                </a:cubicBezTo>
                <a:lnTo>
                  <a:pt x="33654" y="33319"/>
                </a:lnTo>
                <a:cubicBezTo>
                  <a:pt x="36556" y="30082"/>
                  <a:pt x="39402" y="27738"/>
                  <a:pt x="42193" y="26287"/>
                </a:cubicBezTo>
                <a:cubicBezTo>
                  <a:pt x="44984" y="24836"/>
                  <a:pt x="47755" y="24110"/>
                  <a:pt x="50509" y="24110"/>
                </a:cubicBezTo>
                <a:close/>
                <a:moveTo>
                  <a:pt x="89855" y="11162"/>
                </a:moveTo>
                <a:cubicBezTo>
                  <a:pt x="90525" y="11162"/>
                  <a:pt x="91074" y="11190"/>
                  <a:pt x="91502" y="11246"/>
                </a:cubicBezTo>
                <a:cubicBezTo>
                  <a:pt x="91929" y="11302"/>
                  <a:pt x="92264" y="11395"/>
                  <a:pt x="92506" y="11525"/>
                </a:cubicBezTo>
                <a:cubicBezTo>
                  <a:pt x="92748" y="11655"/>
                  <a:pt x="92925" y="11813"/>
                  <a:pt x="93036" y="11999"/>
                </a:cubicBezTo>
                <a:cubicBezTo>
                  <a:pt x="93148" y="12186"/>
                  <a:pt x="93204" y="12390"/>
                  <a:pt x="93204" y="12613"/>
                </a:cubicBezTo>
                <a:lnTo>
                  <a:pt x="93204" y="25003"/>
                </a:lnTo>
                <a:lnTo>
                  <a:pt x="107156" y="25003"/>
                </a:lnTo>
                <a:cubicBezTo>
                  <a:pt x="107417" y="25003"/>
                  <a:pt x="107649" y="25059"/>
                  <a:pt x="107854" y="25171"/>
                </a:cubicBezTo>
                <a:cubicBezTo>
                  <a:pt x="108059" y="25282"/>
                  <a:pt x="108235" y="25459"/>
                  <a:pt x="108384" y="25701"/>
                </a:cubicBezTo>
                <a:cubicBezTo>
                  <a:pt x="108533" y="25943"/>
                  <a:pt x="108645" y="26240"/>
                  <a:pt x="108719" y="26594"/>
                </a:cubicBezTo>
                <a:cubicBezTo>
                  <a:pt x="108794" y="26947"/>
                  <a:pt x="108831" y="27366"/>
                  <a:pt x="108831" y="27850"/>
                </a:cubicBezTo>
                <a:cubicBezTo>
                  <a:pt x="108831" y="28780"/>
                  <a:pt x="108673" y="29477"/>
                  <a:pt x="108356" y="29943"/>
                </a:cubicBezTo>
                <a:cubicBezTo>
                  <a:pt x="108040" y="30408"/>
                  <a:pt x="107640" y="30640"/>
                  <a:pt x="107156" y="30640"/>
                </a:cubicBezTo>
                <a:lnTo>
                  <a:pt x="93204" y="30640"/>
                </a:lnTo>
                <a:lnTo>
                  <a:pt x="93204" y="61169"/>
                </a:lnTo>
                <a:cubicBezTo>
                  <a:pt x="93204" y="65001"/>
                  <a:pt x="93753" y="67922"/>
                  <a:pt x="94850" y="69931"/>
                </a:cubicBezTo>
                <a:cubicBezTo>
                  <a:pt x="95948" y="71940"/>
                  <a:pt x="97948" y="72945"/>
                  <a:pt x="100850" y="72945"/>
                </a:cubicBezTo>
                <a:cubicBezTo>
                  <a:pt x="101743" y="72945"/>
                  <a:pt x="102552" y="72852"/>
                  <a:pt x="103278" y="72666"/>
                </a:cubicBezTo>
                <a:cubicBezTo>
                  <a:pt x="104003" y="72480"/>
                  <a:pt x="104645" y="72275"/>
                  <a:pt x="105203" y="72052"/>
                </a:cubicBezTo>
                <a:cubicBezTo>
                  <a:pt x="105761" y="71829"/>
                  <a:pt x="106236" y="71624"/>
                  <a:pt x="106626" y="71438"/>
                </a:cubicBezTo>
                <a:cubicBezTo>
                  <a:pt x="107017" y="71252"/>
                  <a:pt x="107361" y="71159"/>
                  <a:pt x="107659" y="71159"/>
                </a:cubicBezTo>
                <a:cubicBezTo>
                  <a:pt x="107845" y="71159"/>
                  <a:pt x="108012" y="71196"/>
                  <a:pt x="108161" y="71270"/>
                </a:cubicBezTo>
                <a:cubicBezTo>
                  <a:pt x="108310" y="71345"/>
                  <a:pt x="108431" y="71484"/>
                  <a:pt x="108524" y="71689"/>
                </a:cubicBezTo>
                <a:cubicBezTo>
                  <a:pt x="108617" y="71894"/>
                  <a:pt x="108691" y="72154"/>
                  <a:pt x="108747" y="72470"/>
                </a:cubicBezTo>
                <a:cubicBezTo>
                  <a:pt x="108803" y="72787"/>
                  <a:pt x="108831" y="73187"/>
                  <a:pt x="108831" y="73670"/>
                </a:cubicBezTo>
                <a:cubicBezTo>
                  <a:pt x="108831" y="74452"/>
                  <a:pt x="108766" y="75084"/>
                  <a:pt x="108635" y="75568"/>
                </a:cubicBezTo>
                <a:cubicBezTo>
                  <a:pt x="108505" y="76052"/>
                  <a:pt x="108301" y="76433"/>
                  <a:pt x="108022" y="76712"/>
                </a:cubicBezTo>
                <a:cubicBezTo>
                  <a:pt x="107742" y="76991"/>
                  <a:pt x="107333" y="77251"/>
                  <a:pt x="106794" y="77493"/>
                </a:cubicBezTo>
                <a:cubicBezTo>
                  <a:pt x="106254" y="77735"/>
                  <a:pt x="105631" y="77940"/>
                  <a:pt x="104924" y="78107"/>
                </a:cubicBezTo>
                <a:cubicBezTo>
                  <a:pt x="104217" y="78275"/>
                  <a:pt x="103473" y="78405"/>
                  <a:pt x="102692" y="78498"/>
                </a:cubicBezTo>
                <a:cubicBezTo>
                  <a:pt x="101910" y="78591"/>
                  <a:pt x="101148" y="78637"/>
                  <a:pt x="100403" y="78637"/>
                </a:cubicBezTo>
                <a:cubicBezTo>
                  <a:pt x="97910" y="78637"/>
                  <a:pt x="95790" y="78303"/>
                  <a:pt x="94041" y="77633"/>
                </a:cubicBezTo>
                <a:cubicBezTo>
                  <a:pt x="92292" y="76963"/>
                  <a:pt x="90860" y="75949"/>
                  <a:pt x="89744" y="74591"/>
                </a:cubicBezTo>
                <a:cubicBezTo>
                  <a:pt x="88627" y="73233"/>
                  <a:pt x="87818" y="71512"/>
                  <a:pt x="87316" y="69429"/>
                </a:cubicBezTo>
                <a:cubicBezTo>
                  <a:pt x="86814" y="67345"/>
                  <a:pt x="86562" y="64889"/>
                  <a:pt x="86562" y="62062"/>
                </a:cubicBezTo>
                <a:lnTo>
                  <a:pt x="86562" y="30640"/>
                </a:lnTo>
                <a:lnTo>
                  <a:pt x="79028" y="30640"/>
                </a:lnTo>
                <a:cubicBezTo>
                  <a:pt x="78507" y="30640"/>
                  <a:pt x="78098" y="30408"/>
                  <a:pt x="77800" y="29943"/>
                </a:cubicBezTo>
                <a:cubicBezTo>
                  <a:pt x="77502" y="29477"/>
                  <a:pt x="77354" y="28780"/>
                  <a:pt x="77354" y="27850"/>
                </a:cubicBezTo>
                <a:cubicBezTo>
                  <a:pt x="77354" y="27366"/>
                  <a:pt x="77391" y="26947"/>
                  <a:pt x="77465" y="26594"/>
                </a:cubicBezTo>
                <a:cubicBezTo>
                  <a:pt x="77540" y="26240"/>
                  <a:pt x="77651" y="25943"/>
                  <a:pt x="77800" y="25701"/>
                </a:cubicBezTo>
                <a:cubicBezTo>
                  <a:pt x="77949" y="25459"/>
                  <a:pt x="78126" y="25282"/>
                  <a:pt x="78330" y="25171"/>
                </a:cubicBezTo>
                <a:cubicBezTo>
                  <a:pt x="78535" y="25059"/>
                  <a:pt x="78767" y="25003"/>
                  <a:pt x="79028" y="25003"/>
                </a:cubicBezTo>
                <a:lnTo>
                  <a:pt x="86562" y="25003"/>
                </a:lnTo>
                <a:lnTo>
                  <a:pt x="86562" y="12613"/>
                </a:lnTo>
                <a:cubicBezTo>
                  <a:pt x="86562" y="12390"/>
                  <a:pt x="86609" y="12186"/>
                  <a:pt x="86702" y="11999"/>
                </a:cubicBezTo>
                <a:cubicBezTo>
                  <a:pt x="86795" y="11813"/>
                  <a:pt x="86972" y="11655"/>
                  <a:pt x="87232" y="11525"/>
                </a:cubicBezTo>
                <a:cubicBezTo>
                  <a:pt x="87493" y="11395"/>
                  <a:pt x="87837" y="11302"/>
                  <a:pt x="88265" y="11246"/>
                </a:cubicBezTo>
                <a:cubicBezTo>
                  <a:pt x="88692" y="11190"/>
                  <a:pt x="89223" y="11162"/>
                  <a:pt x="89855" y="11162"/>
                </a:cubicBezTo>
                <a:close/>
                <a:moveTo>
                  <a:pt x="3405" y="5246"/>
                </a:moveTo>
                <a:cubicBezTo>
                  <a:pt x="4074" y="5246"/>
                  <a:pt x="4623" y="5284"/>
                  <a:pt x="5051" y="5358"/>
                </a:cubicBezTo>
                <a:cubicBezTo>
                  <a:pt x="5479" y="5432"/>
                  <a:pt x="5823" y="5525"/>
                  <a:pt x="6084" y="5637"/>
                </a:cubicBezTo>
                <a:cubicBezTo>
                  <a:pt x="6344" y="5749"/>
                  <a:pt x="6530" y="5898"/>
                  <a:pt x="6642" y="6084"/>
                </a:cubicBezTo>
                <a:cubicBezTo>
                  <a:pt x="6753" y="6270"/>
                  <a:pt x="6809" y="6474"/>
                  <a:pt x="6809" y="6697"/>
                </a:cubicBezTo>
                <a:lnTo>
                  <a:pt x="6809" y="76684"/>
                </a:lnTo>
                <a:cubicBezTo>
                  <a:pt x="6809" y="76907"/>
                  <a:pt x="6753" y="77112"/>
                  <a:pt x="6642" y="77298"/>
                </a:cubicBezTo>
                <a:cubicBezTo>
                  <a:pt x="6530" y="77484"/>
                  <a:pt x="6344" y="77633"/>
                  <a:pt x="6084" y="77744"/>
                </a:cubicBezTo>
                <a:cubicBezTo>
                  <a:pt x="5823" y="77856"/>
                  <a:pt x="5479" y="77949"/>
                  <a:pt x="5051" y="78023"/>
                </a:cubicBezTo>
                <a:cubicBezTo>
                  <a:pt x="4623" y="78098"/>
                  <a:pt x="4074" y="78135"/>
                  <a:pt x="3405" y="78135"/>
                </a:cubicBezTo>
                <a:cubicBezTo>
                  <a:pt x="2772" y="78135"/>
                  <a:pt x="2233" y="78098"/>
                  <a:pt x="1786" y="78023"/>
                </a:cubicBezTo>
                <a:cubicBezTo>
                  <a:pt x="1340" y="77949"/>
                  <a:pt x="986" y="77856"/>
                  <a:pt x="726" y="77744"/>
                </a:cubicBezTo>
                <a:cubicBezTo>
                  <a:pt x="465" y="77633"/>
                  <a:pt x="279" y="77484"/>
                  <a:pt x="168" y="77298"/>
                </a:cubicBezTo>
                <a:cubicBezTo>
                  <a:pt x="56" y="77112"/>
                  <a:pt x="0" y="76907"/>
                  <a:pt x="0" y="76684"/>
                </a:cubicBezTo>
                <a:lnTo>
                  <a:pt x="0" y="6697"/>
                </a:lnTo>
                <a:cubicBezTo>
                  <a:pt x="0" y="6474"/>
                  <a:pt x="65" y="6270"/>
                  <a:pt x="196" y="6084"/>
                </a:cubicBezTo>
                <a:cubicBezTo>
                  <a:pt x="326" y="5898"/>
                  <a:pt x="530" y="5749"/>
                  <a:pt x="809" y="5637"/>
                </a:cubicBezTo>
                <a:cubicBezTo>
                  <a:pt x="1088" y="5525"/>
                  <a:pt x="1442" y="5432"/>
                  <a:pt x="1870" y="5358"/>
                </a:cubicBezTo>
                <a:cubicBezTo>
                  <a:pt x="2298" y="5284"/>
                  <a:pt x="2809" y="5246"/>
                  <a:pt x="3405" y="5246"/>
                </a:cubicBezTo>
                <a:close/>
                <a:moveTo>
                  <a:pt x="335440" y="0"/>
                </a:moveTo>
                <a:cubicBezTo>
                  <a:pt x="336110" y="0"/>
                  <a:pt x="336659" y="28"/>
                  <a:pt x="337087" y="84"/>
                </a:cubicBezTo>
                <a:cubicBezTo>
                  <a:pt x="337514" y="140"/>
                  <a:pt x="337849" y="233"/>
                  <a:pt x="338091" y="363"/>
                </a:cubicBezTo>
                <a:cubicBezTo>
                  <a:pt x="338333" y="493"/>
                  <a:pt x="338510" y="651"/>
                  <a:pt x="338621" y="837"/>
                </a:cubicBezTo>
                <a:cubicBezTo>
                  <a:pt x="338733" y="1023"/>
                  <a:pt x="338789" y="1228"/>
                  <a:pt x="338789" y="1451"/>
                </a:cubicBezTo>
                <a:lnTo>
                  <a:pt x="338789" y="76684"/>
                </a:lnTo>
                <a:cubicBezTo>
                  <a:pt x="338789" y="76907"/>
                  <a:pt x="338733" y="77112"/>
                  <a:pt x="338621" y="77298"/>
                </a:cubicBezTo>
                <a:cubicBezTo>
                  <a:pt x="338510" y="77484"/>
                  <a:pt x="338333" y="77633"/>
                  <a:pt x="338091" y="77744"/>
                </a:cubicBezTo>
                <a:cubicBezTo>
                  <a:pt x="337849" y="77856"/>
                  <a:pt x="337514" y="77949"/>
                  <a:pt x="337087" y="78023"/>
                </a:cubicBezTo>
                <a:cubicBezTo>
                  <a:pt x="336659" y="78098"/>
                  <a:pt x="336110" y="78135"/>
                  <a:pt x="335440" y="78135"/>
                </a:cubicBezTo>
                <a:cubicBezTo>
                  <a:pt x="334808" y="78135"/>
                  <a:pt x="334277" y="78098"/>
                  <a:pt x="333850" y="78023"/>
                </a:cubicBezTo>
                <a:cubicBezTo>
                  <a:pt x="333422" y="77949"/>
                  <a:pt x="333078" y="77856"/>
                  <a:pt x="332817" y="77744"/>
                </a:cubicBezTo>
                <a:cubicBezTo>
                  <a:pt x="332557" y="77633"/>
                  <a:pt x="332380" y="77484"/>
                  <a:pt x="332287" y="77298"/>
                </a:cubicBezTo>
                <a:cubicBezTo>
                  <a:pt x="332194" y="77112"/>
                  <a:pt x="332147" y="76907"/>
                  <a:pt x="332147" y="76684"/>
                </a:cubicBezTo>
                <a:lnTo>
                  <a:pt x="332147" y="1451"/>
                </a:lnTo>
                <a:cubicBezTo>
                  <a:pt x="332147" y="1228"/>
                  <a:pt x="332194" y="1023"/>
                  <a:pt x="332287" y="837"/>
                </a:cubicBezTo>
                <a:cubicBezTo>
                  <a:pt x="332380" y="651"/>
                  <a:pt x="332557" y="493"/>
                  <a:pt x="332817" y="363"/>
                </a:cubicBezTo>
                <a:cubicBezTo>
                  <a:pt x="333078" y="233"/>
                  <a:pt x="333422" y="140"/>
                  <a:pt x="333850" y="84"/>
                </a:cubicBezTo>
                <a:cubicBezTo>
                  <a:pt x="334277" y="28"/>
                  <a:pt x="334808" y="0"/>
                  <a:pt x="3354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a-DK" sz="9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A046C38-66DF-40F5-BFCF-B427D86E2B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23D7256B-C28F-41CE-AF50-A3C66B4F0CE8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769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91F81D5F-2331-47BD-A0FD-F573C5588458}" type="datetime1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C523535-663A-4646-B84C-3FF77F34C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45A0275-41CF-C24F-A234-1D66A518E1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dirty="0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05362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5A510F9-5A0F-4363-9E57-CA923F658AC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43D1B143-A65D-4CE6-B040-7D315CAC3F0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C21EF2F5-B4AC-4866-93EF-0C42AB0CF1B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6321DF7-711F-4085-B301-24BCBB903A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441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9E5588D8-783B-C044-B1DB-7C3DA876B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3" name="Pladsholder til tekst 16">
            <a:extLst>
              <a:ext uri="{FF2B5EF4-FFF2-40B4-BE49-F238E27FC236}">
                <a16:creationId xmlns:a16="http://schemas.microsoft.com/office/drawing/2014/main" id="{4578CB40-67D0-4144-9890-506406FF8B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85EAA4A-4FE0-400F-8717-0CA09EFBC37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61D3D23-BF50-434A-BF70-C336EDB655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Kombinationstegning: figur 4">
            <a:extLst>
              <a:ext uri="{FF2B5EF4-FFF2-40B4-BE49-F238E27FC236}">
                <a16:creationId xmlns:a16="http://schemas.microsoft.com/office/drawing/2014/main" id="{A8862F53-BAE0-3801-E84D-83C6D38EFCEF}"/>
              </a:ext>
            </a:extLst>
          </p:cNvPr>
          <p:cNvSpPr/>
          <p:nvPr userDrawn="1"/>
        </p:nvSpPr>
        <p:spPr>
          <a:xfrm>
            <a:off x="8356135" y="4761204"/>
            <a:ext cx="543390" cy="79084"/>
          </a:xfrm>
          <a:custGeom>
            <a:avLst/>
            <a:gdLst/>
            <a:ahLst/>
            <a:cxnLst/>
            <a:rect l="l" t="t" r="r" b="b"/>
            <a:pathLst>
              <a:path w="543390" h="79084">
                <a:moveTo>
                  <a:pt x="499132" y="53188"/>
                </a:moveTo>
                <a:cubicBezTo>
                  <a:pt x="496453" y="53188"/>
                  <a:pt x="494109" y="53430"/>
                  <a:pt x="492100" y="53913"/>
                </a:cubicBezTo>
                <a:cubicBezTo>
                  <a:pt x="490091" y="54397"/>
                  <a:pt x="488416" y="55104"/>
                  <a:pt x="487077" y="56034"/>
                </a:cubicBezTo>
                <a:cubicBezTo>
                  <a:pt x="485737" y="56964"/>
                  <a:pt x="484742" y="58081"/>
                  <a:pt x="484091" y="59383"/>
                </a:cubicBezTo>
                <a:cubicBezTo>
                  <a:pt x="483440" y="60685"/>
                  <a:pt x="483114" y="62173"/>
                  <a:pt x="483114" y="63848"/>
                </a:cubicBezTo>
                <a:cubicBezTo>
                  <a:pt x="483114" y="66750"/>
                  <a:pt x="484035" y="69066"/>
                  <a:pt x="485877" y="70796"/>
                </a:cubicBezTo>
                <a:cubicBezTo>
                  <a:pt x="487719" y="72526"/>
                  <a:pt x="490314" y="73391"/>
                  <a:pt x="493663" y="73391"/>
                </a:cubicBezTo>
                <a:cubicBezTo>
                  <a:pt x="496304" y="73391"/>
                  <a:pt x="498769" y="72712"/>
                  <a:pt x="501057" y="71354"/>
                </a:cubicBezTo>
                <a:cubicBezTo>
                  <a:pt x="503346" y="69996"/>
                  <a:pt x="505773" y="67903"/>
                  <a:pt x="508341" y="65075"/>
                </a:cubicBezTo>
                <a:lnTo>
                  <a:pt x="508341" y="53188"/>
                </a:lnTo>
                <a:close/>
                <a:moveTo>
                  <a:pt x="81092" y="30250"/>
                </a:moveTo>
                <a:cubicBezTo>
                  <a:pt x="78079" y="30250"/>
                  <a:pt x="75474" y="30789"/>
                  <a:pt x="73279" y="31868"/>
                </a:cubicBezTo>
                <a:cubicBezTo>
                  <a:pt x="71084" y="32947"/>
                  <a:pt x="69289" y="34445"/>
                  <a:pt x="67893" y="36361"/>
                </a:cubicBezTo>
                <a:cubicBezTo>
                  <a:pt x="66498" y="38277"/>
                  <a:pt x="65465" y="40537"/>
                  <a:pt x="64796" y="43142"/>
                </a:cubicBezTo>
                <a:cubicBezTo>
                  <a:pt x="64126" y="45746"/>
                  <a:pt x="63791" y="48556"/>
                  <a:pt x="63791" y="51569"/>
                </a:cubicBezTo>
                <a:cubicBezTo>
                  <a:pt x="63791" y="54471"/>
                  <a:pt x="64070" y="57234"/>
                  <a:pt x="64628" y="59857"/>
                </a:cubicBezTo>
                <a:cubicBezTo>
                  <a:pt x="65186" y="62480"/>
                  <a:pt x="66117" y="64778"/>
                  <a:pt x="67419" y="66750"/>
                </a:cubicBezTo>
                <a:cubicBezTo>
                  <a:pt x="68721" y="68722"/>
                  <a:pt x="70470" y="70284"/>
                  <a:pt x="72665" y="71438"/>
                </a:cubicBezTo>
                <a:cubicBezTo>
                  <a:pt x="74860" y="72591"/>
                  <a:pt x="77595" y="73168"/>
                  <a:pt x="80869" y="73168"/>
                </a:cubicBezTo>
                <a:cubicBezTo>
                  <a:pt x="83883" y="73168"/>
                  <a:pt x="86487" y="72628"/>
                  <a:pt x="88683" y="71549"/>
                </a:cubicBezTo>
                <a:cubicBezTo>
                  <a:pt x="90878" y="70470"/>
                  <a:pt x="92673" y="68982"/>
                  <a:pt x="94068" y="67085"/>
                </a:cubicBezTo>
                <a:cubicBezTo>
                  <a:pt x="95464" y="65187"/>
                  <a:pt x="96496" y="62936"/>
                  <a:pt x="97166" y="60332"/>
                </a:cubicBezTo>
                <a:cubicBezTo>
                  <a:pt x="97836" y="57727"/>
                  <a:pt x="98170" y="54899"/>
                  <a:pt x="98170" y="51848"/>
                </a:cubicBezTo>
                <a:cubicBezTo>
                  <a:pt x="98170" y="48983"/>
                  <a:pt x="97891" y="46249"/>
                  <a:pt x="97333" y="43644"/>
                </a:cubicBezTo>
                <a:cubicBezTo>
                  <a:pt x="96775" y="41040"/>
                  <a:pt x="95845" y="38742"/>
                  <a:pt x="94543" y="36752"/>
                </a:cubicBezTo>
                <a:cubicBezTo>
                  <a:pt x="93241" y="34761"/>
                  <a:pt x="91492" y="33180"/>
                  <a:pt x="89297" y="32008"/>
                </a:cubicBezTo>
                <a:cubicBezTo>
                  <a:pt x="87101" y="30836"/>
                  <a:pt x="84367" y="30250"/>
                  <a:pt x="81092" y="30250"/>
                </a:cubicBezTo>
                <a:close/>
                <a:moveTo>
                  <a:pt x="318045" y="30138"/>
                </a:moveTo>
                <a:cubicBezTo>
                  <a:pt x="315515" y="30138"/>
                  <a:pt x="313292" y="30612"/>
                  <a:pt x="311376" y="31561"/>
                </a:cubicBezTo>
                <a:cubicBezTo>
                  <a:pt x="309460" y="32510"/>
                  <a:pt x="307841" y="33766"/>
                  <a:pt x="306521" y="35328"/>
                </a:cubicBezTo>
                <a:cubicBezTo>
                  <a:pt x="305200" y="36891"/>
                  <a:pt x="304186" y="38705"/>
                  <a:pt x="303479" y="40770"/>
                </a:cubicBezTo>
                <a:cubicBezTo>
                  <a:pt x="302772" y="42835"/>
                  <a:pt x="302363" y="44984"/>
                  <a:pt x="302251" y="47216"/>
                </a:cubicBezTo>
                <a:lnTo>
                  <a:pt x="332947" y="47216"/>
                </a:lnTo>
                <a:cubicBezTo>
                  <a:pt x="333058" y="41858"/>
                  <a:pt x="331831" y="37672"/>
                  <a:pt x="329263" y="34659"/>
                </a:cubicBezTo>
                <a:cubicBezTo>
                  <a:pt x="326696" y="31645"/>
                  <a:pt x="322957" y="30138"/>
                  <a:pt x="318045" y="30138"/>
                </a:cubicBezTo>
                <a:close/>
                <a:moveTo>
                  <a:pt x="259389" y="30138"/>
                </a:moveTo>
                <a:cubicBezTo>
                  <a:pt x="256821" y="30138"/>
                  <a:pt x="254626" y="30752"/>
                  <a:pt x="252803" y="31980"/>
                </a:cubicBezTo>
                <a:cubicBezTo>
                  <a:pt x="250980" y="33208"/>
                  <a:pt x="249491" y="34826"/>
                  <a:pt x="248338" y="36835"/>
                </a:cubicBezTo>
                <a:cubicBezTo>
                  <a:pt x="247185" y="38845"/>
                  <a:pt x="246347" y="41114"/>
                  <a:pt x="245827" y="43644"/>
                </a:cubicBezTo>
                <a:cubicBezTo>
                  <a:pt x="245306" y="46174"/>
                  <a:pt x="245045" y="48742"/>
                  <a:pt x="245045" y="51346"/>
                </a:cubicBezTo>
                <a:cubicBezTo>
                  <a:pt x="245045" y="54137"/>
                  <a:pt x="245268" y="56853"/>
                  <a:pt x="245715" y="59494"/>
                </a:cubicBezTo>
                <a:cubicBezTo>
                  <a:pt x="246161" y="62136"/>
                  <a:pt x="246924" y="64489"/>
                  <a:pt x="248003" y="66554"/>
                </a:cubicBezTo>
                <a:cubicBezTo>
                  <a:pt x="249082" y="68619"/>
                  <a:pt x="250515" y="70275"/>
                  <a:pt x="252301" y="71522"/>
                </a:cubicBezTo>
                <a:cubicBezTo>
                  <a:pt x="254087" y="72768"/>
                  <a:pt x="256319" y="73391"/>
                  <a:pt x="258998" y="73391"/>
                </a:cubicBezTo>
                <a:cubicBezTo>
                  <a:pt x="260337" y="73391"/>
                  <a:pt x="261640" y="73205"/>
                  <a:pt x="262905" y="72833"/>
                </a:cubicBezTo>
                <a:cubicBezTo>
                  <a:pt x="264170" y="72461"/>
                  <a:pt x="265472" y="71847"/>
                  <a:pt x="266811" y="70991"/>
                </a:cubicBezTo>
                <a:cubicBezTo>
                  <a:pt x="268151" y="70136"/>
                  <a:pt x="269537" y="69029"/>
                  <a:pt x="270969" y="67671"/>
                </a:cubicBezTo>
                <a:cubicBezTo>
                  <a:pt x="272402" y="66313"/>
                  <a:pt x="273936" y="64629"/>
                  <a:pt x="275574" y="62620"/>
                </a:cubicBezTo>
                <a:lnTo>
                  <a:pt x="275574" y="40575"/>
                </a:lnTo>
                <a:cubicBezTo>
                  <a:pt x="272783" y="37189"/>
                  <a:pt x="270095" y="34603"/>
                  <a:pt x="267509" y="32817"/>
                </a:cubicBezTo>
                <a:cubicBezTo>
                  <a:pt x="264923" y="31031"/>
                  <a:pt x="262216" y="30138"/>
                  <a:pt x="259389" y="30138"/>
                </a:cubicBezTo>
                <a:close/>
                <a:moveTo>
                  <a:pt x="454316" y="25059"/>
                </a:moveTo>
                <a:cubicBezTo>
                  <a:pt x="454986" y="25059"/>
                  <a:pt x="455535" y="25087"/>
                  <a:pt x="455963" y="25143"/>
                </a:cubicBezTo>
                <a:cubicBezTo>
                  <a:pt x="456390" y="25199"/>
                  <a:pt x="456725" y="25292"/>
                  <a:pt x="456967" y="25422"/>
                </a:cubicBezTo>
                <a:cubicBezTo>
                  <a:pt x="457209" y="25552"/>
                  <a:pt x="457386" y="25710"/>
                  <a:pt x="457497" y="25896"/>
                </a:cubicBezTo>
                <a:cubicBezTo>
                  <a:pt x="457609" y="26082"/>
                  <a:pt x="457665" y="26287"/>
                  <a:pt x="457665" y="26510"/>
                </a:cubicBezTo>
                <a:lnTo>
                  <a:pt x="457665" y="77019"/>
                </a:lnTo>
                <a:cubicBezTo>
                  <a:pt x="457665" y="77242"/>
                  <a:pt x="457609" y="77447"/>
                  <a:pt x="457497" y="77633"/>
                </a:cubicBezTo>
                <a:cubicBezTo>
                  <a:pt x="457386" y="77819"/>
                  <a:pt x="457209" y="77968"/>
                  <a:pt x="456967" y="78079"/>
                </a:cubicBezTo>
                <a:cubicBezTo>
                  <a:pt x="456725" y="78191"/>
                  <a:pt x="456390" y="78284"/>
                  <a:pt x="455963" y="78358"/>
                </a:cubicBezTo>
                <a:cubicBezTo>
                  <a:pt x="455535" y="78433"/>
                  <a:pt x="454986" y="78470"/>
                  <a:pt x="454316" y="78470"/>
                </a:cubicBezTo>
                <a:cubicBezTo>
                  <a:pt x="453684" y="78470"/>
                  <a:pt x="453153" y="78433"/>
                  <a:pt x="452726" y="78358"/>
                </a:cubicBezTo>
                <a:cubicBezTo>
                  <a:pt x="452298" y="78284"/>
                  <a:pt x="451953" y="78191"/>
                  <a:pt x="451693" y="78079"/>
                </a:cubicBezTo>
                <a:cubicBezTo>
                  <a:pt x="451433" y="77968"/>
                  <a:pt x="451256" y="77819"/>
                  <a:pt x="451163" y="77633"/>
                </a:cubicBezTo>
                <a:cubicBezTo>
                  <a:pt x="451070" y="77447"/>
                  <a:pt x="451023" y="77242"/>
                  <a:pt x="451023" y="77019"/>
                </a:cubicBezTo>
                <a:lnTo>
                  <a:pt x="451023" y="26510"/>
                </a:lnTo>
                <a:cubicBezTo>
                  <a:pt x="451023" y="26287"/>
                  <a:pt x="451070" y="26082"/>
                  <a:pt x="451163" y="25896"/>
                </a:cubicBezTo>
                <a:cubicBezTo>
                  <a:pt x="451256" y="25710"/>
                  <a:pt x="451433" y="25552"/>
                  <a:pt x="451693" y="25422"/>
                </a:cubicBezTo>
                <a:cubicBezTo>
                  <a:pt x="451953" y="25292"/>
                  <a:pt x="452298" y="25199"/>
                  <a:pt x="452726" y="25143"/>
                </a:cubicBezTo>
                <a:cubicBezTo>
                  <a:pt x="453153" y="25087"/>
                  <a:pt x="453684" y="25059"/>
                  <a:pt x="454316" y="25059"/>
                </a:cubicBezTo>
                <a:close/>
                <a:moveTo>
                  <a:pt x="216191" y="25059"/>
                </a:moveTo>
                <a:cubicBezTo>
                  <a:pt x="216861" y="25059"/>
                  <a:pt x="217410" y="25087"/>
                  <a:pt x="217838" y="25143"/>
                </a:cubicBezTo>
                <a:cubicBezTo>
                  <a:pt x="218265" y="25199"/>
                  <a:pt x="218600" y="25292"/>
                  <a:pt x="218842" y="25422"/>
                </a:cubicBezTo>
                <a:cubicBezTo>
                  <a:pt x="219084" y="25552"/>
                  <a:pt x="219261" y="25710"/>
                  <a:pt x="219372" y="25896"/>
                </a:cubicBezTo>
                <a:cubicBezTo>
                  <a:pt x="219484" y="26082"/>
                  <a:pt x="219540" y="26287"/>
                  <a:pt x="219540" y="26510"/>
                </a:cubicBezTo>
                <a:lnTo>
                  <a:pt x="219540" y="77019"/>
                </a:lnTo>
                <a:cubicBezTo>
                  <a:pt x="219540" y="77242"/>
                  <a:pt x="219484" y="77447"/>
                  <a:pt x="219372" y="77633"/>
                </a:cubicBezTo>
                <a:cubicBezTo>
                  <a:pt x="219261" y="77819"/>
                  <a:pt x="219084" y="77968"/>
                  <a:pt x="218842" y="78079"/>
                </a:cubicBezTo>
                <a:cubicBezTo>
                  <a:pt x="218600" y="78191"/>
                  <a:pt x="218265" y="78284"/>
                  <a:pt x="217838" y="78358"/>
                </a:cubicBezTo>
                <a:cubicBezTo>
                  <a:pt x="217410" y="78433"/>
                  <a:pt x="216861" y="78470"/>
                  <a:pt x="216191" y="78470"/>
                </a:cubicBezTo>
                <a:cubicBezTo>
                  <a:pt x="215559" y="78470"/>
                  <a:pt x="215029" y="78433"/>
                  <a:pt x="214601" y="78358"/>
                </a:cubicBezTo>
                <a:cubicBezTo>
                  <a:pt x="214173" y="78284"/>
                  <a:pt x="213829" y="78191"/>
                  <a:pt x="213568" y="78079"/>
                </a:cubicBezTo>
                <a:cubicBezTo>
                  <a:pt x="213308" y="77968"/>
                  <a:pt x="213131" y="77819"/>
                  <a:pt x="213038" y="77633"/>
                </a:cubicBezTo>
                <a:cubicBezTo>
                  <a:pt x="212945" y="77447"/>
                  <a:pt x="212898" y="77242"/>
                  <a:pt x="212898" y="77019"/>
                </a:cubicBezTo>
                <a:lnTo>
                  <a:pt x="212898" y="26510"/>
                </a:lnTo>
                <a:cubicBezTo>
                  <a:pt x="212898" y="26287"/>
                  <a:pt x="212945" y="26082"/>
                  <a:pt x="213038" y="25896"/>
                </a:cubicBezTo>
                <a:cubicBezTo>
                  <a:pt x="213131" y="25710"/>
                  <a:pt x="213308" y="25552"/>
                  <a:pt x="213568" y="25422"/>
                </a:cubicBezTo>
                <a:cubicBezTo>
                  <a:pt x="213829" y="25292"/>
                  <a:pt x="214173" y="25199"/>
                  <a:pt x="214601" y="25143"/>
                </a:cubicBezTo>
                <a:cubicBezTo>
                  <a:pt x="215029" y="25087"/>
                  <a:pt x="215559" y="25059"/>
                  <a:pt x="216191" y="25059"/>
                </a:cubicBezTo>
                <a:close/>
                <a:moveTo>
                  <a:pt x="496341" y="24445"/>
                </a:moveTo>
                <a:cubicBezTo>
                  <a:pt x="499802" y="24445"/>
                  <a:pt x="502723" y="24864"/>
                  <a:pt x="505104" y="25701"/>
                </a:cubicBezTo>
                <a:cubicBezTo>
                  <a:pt x="507485" y="26538"/>
                  <a:pt x="509411" y="27738"/>
                  <a:pt x="510880" y="29301"/>
                </a:cubicBezTo>
                <a:cubicBezTo>
                  <a:pt x="512350" y="30864"/>
                  <a:pt x="513401" y="32789"/>
                  <a:pt x="514033" y="35077"/>
                </a:cubicBezTo>
                <a:cubicBezTo>
                  <a:pt x="514666" y="37366"/>
                  <a:pt x="514982" y="39961"/>
                  <a:pt x="514982" y="42863"/>
                </a:cubicBezTo>
                <a:lnTo>
                  <a:pt x="514982" y="77019"/>
                </a:lnTo>
                <a:cubicBezTo>
                  <a:pt x="514982" y="77391"/>
                  <a:pt x="514861" y="77679"/>
                  <a:pt x="514619" y="77884"/>
                </a:cubicBezTo>
                <a:cubicBezTo>
                  <a:pt x="514378" y="78089"/>
                  <a:pt x="514061" y="78237"/>
                  <a:pt x="513671" y="78330"/>
                </a:cubicBezTo>
                <a:cubicBezTo>
                  <a:pt x="513280" y="78423"/>
                  <a:pt x="512750" y="78470"/>
                  <a:pt x="512080" y="78470"/>
                </a:cubicBezTo>
                <a:cubicBezTo>
                  <a:pt x="511448" y="78470"/>
                  <a:pt x="510908" y="78423"/>
                  <a:pt x="510462" y="78330"/>
                </a:cubicBezTo>
                <a:cubicBezTo>
                  <a:pt x="510015" y="78237"/>
                  <a:pt x="509671" y="78089"/>
                  <a:pt x="509429" y="77884"/>
                </a:cubicBezTo>
                <a:cubicBezTo>
                  <a:pt x="509187" y="77679"/>
                  <a:pt x="509066" y="77391"/>
                  <a:pt x="509066" y="77019"/>
                </a:cubicBezTo>
                <a:lnTo>
                  <a:pt x="509066" y="71382"/>
                </a:lnTo>
                <a:cubicBezTo>
                  <a:pt x="506797" y="73838"/>
                  <a:pt x="504295" y="75735"/>
                  <a:pt x="501560" y="77075"/>
                </a:cubicBezTo>
                <a:cubicBezTo>
                  <a:pt x="498825" y="78414"/>
                  <a:pt x="495988" y="79084"/>
                  <a:pt x="493049" y="79084"/>
                </a:cubicBezTo>
                <a:cubicBezTo>
                  <a:pt x="490407" y="79084"/>
                  <a:pt x="488035" y="78740"/>
                  <a:pt x="485933" y="78051"/>
                </a:cubicBezTo>
                <a:cubicBezTo>
                  <a:pt x="483831" y="77363"/>
                  <a:pt x="482054" y="76377"/>
                  <a:pt x="480603" y="75093"/>
                </a:cubicBezTo>
                <a:cubicBezTo>
                  <a:pt x="479152" y="73810"/>
                  <a:pt x="478036" y="72256"/>
                  <a:pt x="477254" y="70433"/>
                </a:cubicBezTo>
                <a:cubicBezTo>
                  <a:pt x="476473" y="68610"/>
                  <a:pt x="476082" y="66564"/>
                  <a:pt x="476082" y="64294"/>
                </a:cubicBezTo>
                <a:cubicBezTo>
                  <a:pt x="476082" y="61504"/>
                  <a:pt x="476659" y="59076"/>
                  <a:pt x="477812" y="57011"/>
                </a:cubicBezTo>
                <a:cubicBezTo>
                  <a:pt x="478966" y="54946"/>
                  <a:pt x="480603" y="53225"/>
                  <a:pt x="482724" y="51848"/>
                </a:cubicBezTo>
                <a:cubicBezTo>
                  <a:pt x="484845" y="50472"/>
                  <a:pt x="487393" y="49439"/>
                  <a:pt x="490370" y="48751"/>
                </a:cubicBezTo>
                <a:cubicBezTo>
                  <a:pt x="493346" y="48063"/>
                  <a:pt x="496658" y="47718"/>
                  <a:pt x="500304" y="47718"/>
                </a:cubicBezTo>
                <a:lnTo>
                  <a:pt x="508341" y="47718"/>
                </a:lnTo>
                <a:lnTo>
                  <a:pt x="508341" y="43365"/>
                </a:lnTo>
                <a:cubicBezTo>
                  <a:pt x="508341" y="41207"/>
                  <a:pt x="508118" y="39300"/>
                  <a:pt x="507671" y="37645"/>
                </a:cubicBezTo>
                <a:cubicBezTo>
                  <a:pt x="507225" y="35989"/>
                  <a:pt x="506499" y="34603"/>
                  <a:pt x="505494" y="33487"/>
                </a:cubicBezTo>
                <a:cubicBezTo>
                  <a:pt x="504490" y="32370"/>
                  <a:pt x="503188" y="31533"/>
                  <a:pt x="501588" y="30975"/>
                </a:cubicBezTo>
                <a:cubicBezTo>
                  <a:pt x="499988" y="30417"/>
                  <a:pt x="498034" y="30138"/>
                  <a:pt x="495728" y="30138"/>
                </a:cubicBezTo>
                <a:cubicBezTo>
                  <a:pt x="493495" y="30138"/>
                  <a:pt x="491486" y="30408"/>
                  <a:pt x="489700" y="30947"/>
                </a:cubicBezTo>
                <a:cubicBezTo>
                  <a:pt x="487914" y="31487"/>
                  <a:pt x="486351" y="32091"/>
                  <a:pt x="485012" y="32761"/>
                </a:cubicBezTo>
                <a:cubicBezTo>
                  <a:pt x="483673" y="33431"/>
                  <a:pt x="482566" y="34035"/>
                  <a:pt x="481691" y="34575"/>
                </a:cubicBezTo>
                <a:cubicBezTo>
                  <a:pt x="480817" y="35115"/>
                  <a:pt x="480194" y="35384"/>
                  <a:pt x="479822" y="35384"/>
                </a:cubicBezTo>
                <a:cubicBezTo>
                  <a:pt x="479598" y="35384"/>
                  <a:pt x="479394" y="35347"/>
                  <a:pt x="479208" y="35273"/>
                </a:cubicBezTo>
                <a:cubicBezTo>
                  <a:pt x="479022" y="35198"/>
                  <a:pt x="478863" y="35059"/>
                  <a:pt x="478733" y="34854"/>
                </a:cubicBezTo>
                <a:cubicBezTo>
                  <a:pt x="478603" y="34649"/>
                  <a:pt x="478510" y="34389"/>
                  <a:pt x="478454" y="34073"/>
                </a:cubicBezTo>
                <a:cubicBezTo>
                  <a:pt x="478398" y="33756"/>
                  <a:pt x="478371" y="33375"/>
                  <a:pt x="478371" y="32929"/>
                </a:cubicBezTo>
                <a:cubicBezTo>
                  <a:pt x="478371" y="32147"/>
                  <a:pt x="478426" y="31524"/>
                  <a:pt x="478538" y="31059"/>
                </a:cubicBezTo>
                <a:cubicBezTo>
                  <a:pt x="478650" y="30594"/>
                  <a:pt x="478938" y="30129"/>
                  <a:pt x="479403" y="29664"/>
                </a:cubicBezTo>
                <a:cubicBezTo>
                  <a:pt x="479868" y="29199"/>
                  <a:pt x="480696" y="28650"/>
                  <a:pt x="481887" y="28017"/>
                </a:cubicBezTo>
                <a:cubicBezTo>
                  <a:pt x="483077" y="27385"/>
                  <a:pt x="484445" y="26799"/>
                  <a:pt x="485989" y="26259"/>
                </a:cubicBezTo>
                <a:cubicBezTo>
                  <a:pt x="487533" y="25720"/>
                  <a:pt x="489198" y="25283"/>
                  <a:pt x="490984" y="24948"/>
                </a:cubicBezTo>
                <a:cubicBezTo>
                  <a:pt x="492770" y="24613"/>
                  <a:pt x="494556" y="24445"/>
                  <a:pt x="496341" y="24445"/>
                </a:cubicBezTo>
                <a:close/>
                <a:moveTo>
                  <a:pt x="378935" y="24445"/>
                </a:moveTo>
                <a:cubicBezTo>
                  <a:pt x="382246" y="24445"/>
                  <a:pt x="385037" y="25003"/>
                  <a:pt x="387306" y="26120"/>
                </a:cubicBezTo>
                <a:cubicBezTo>
                  <a:pt x="389576" y="27236"/>
                  <a:pt x="391408" y="28743"/>
                  <a:pt x="392804" y="30640"/>
                </a:cubicBezTo>
                <a:cubicBezTo>
                  <a:pt x="394199" y="32538"/>
                  <a:pt x="395203" y="34752"/>
                  <a:pt x="395817" y="37282"/>
                </a:cubicBezTo>
                <a:cubicBezTo>
                  <a:pt x="396431" y="39812"/>
                  <a:pt x="396738" y="42863"/>
                  <a:pt x="396738" y="46435"/>
                </a:cubicBezTo>
                <a:lnTo>
                  <a:pt x="396738" y="77019"/>
                </a:lnTo>
                <a:cubicBezTo>
                  <a:pt x="396738" y="77242"/>
                  <a:pt x="396682" y="77447"/>
                  <a:pt x="396571" y="77633"/>
                </a:cubicBezTo>
                <a:cubicBezTo>
                  <a:pt x="396459" y="77819"/>
                  <a:pt x="396283" y="77968"/>
                  <a:pt x="396041" y="78079"/>
                </a:cubicBezTo>
                <a:cubicBezTo>
                  <a:pt x="395799" y="78191"/>
                  <a:pt x="395464" y="78284"/>
                  <a:pt x="395036" y="78358"/>
                </a:cubicBezTo>
                <a:cubicBezTo>
                  <a:pt x="394608" y="78433"/>
                  <a:pt x="394078" y="78470"/>
                  <a:pt x="393445" y="78470"/>
                </a:cubicBezTo>
                <a:cubicBezTo>
                  <a:pt x="392776" y="78470"/>
                  <a:pt x="392227" y="78433"/>
                  <a:pt x="391799" y="78358"/>
                </a:cubicBezTo>
                <a:cubicBezTo>
                  <a:pt x="391371" y="78284"/>
                  <a:pt x="391036" y="78191"/>
                  <a:pt x="390794" y="78079"/>
                </a:cubicBezTo>
                <a:cubicBezTo>
                  <a:pt x="390553" y="77968"/>
                  <a:pt x="390376" y="77819"/>
                  <a:pt x="390264" y="77633"/>
                </a:cubicBezTo>
                <a:cubicBezTo>
                  <a:pt x="390153" y="77447"/>
                  <a:pt x="390097" y="77242"/>
                  <a:pt x="390097" y="77019"/>
                </a:cubicBezTo>
                <a:lnTo>
                  <a:pt x="390097" y="47049"/>
                </a:lnTo>
                <a:cubicBezTo>
                  <a:pt x="390097" y="43923"/>
                  <a:pt x="389855" y="41384"/>
                  <a:pt x="389371" y="39431"/>
                </a:cubicBezTo>
                <a:cubicBezTo>
                  <a:pt x="388888" y="37477"/>
                  <a:pt x="388162" y="35803"/>
                  <a:pt x="387195" y="34408"/>
                </a:cubicBezTo>
                <a:cubicBezTo>
                  <a:pt x="386227" y="33012"/>
                  <a:pt x="384990" y="31933"/>
                  <a:pt x="383483" y="31171"/>
                </a:cubicBezTo>
                <a:cubicBezTo>
                  <a:pt x="381976" y="30408"/>
                  <a:pt x="380218" y="30026"/>
                  <a:pt x="378209" y="30026"/>
                </a:cubicBezTo>
                <a:cubicBezTo>
                  <a:pt x="375642" y="30026"/>
                  <a:pt x="373075" y="30938"/>
                  <a:pt x="370507" y="32761"/>
                </a:cubicBezTo>
                <a:cubicBezTo>
                  <a:pt x="367940" y="34584"/>
                  <a:pt x="365243" y="37263"/>
                  <a:pt x="362415" y="40798"/>
                </a:cubicBezTo>
                <a:lnTo>
                  <a:pt x="362415" y="77019"/>
                </a:lnTo>
                <a:cubicBezTo>
                  <a:pt x="362415" y="77242"/>
                  <a:pt x="362359" y="77447"/>
                  <a:pt x="362247" y="77633"/>
                </a:cubicBezTo>
                <a:cubicBezTo>
                  <a:pt x="362136" y="77819"/>
                  <a:pt x="361959" y="77968"/>
                  <a:pt x="361717" y="78079"/>
                </a:cubicBezTo>
                <a:cubicBezTo>
                  <a:pt x="361475" y="78191"/>
                  <a:pt x="361140" y="78284"/>
                  <a:pt x="360713" y="78358"/>
                </a:cubicBezTo>
                <a:cubicBezTo>
                  <a:pt x="360285" y="78433"/>
                  <a:pt x="359736" y="78470"/>
                  <a:pt x="359066" y="78470"/>
                </a:cubicBezTo>
                <a:cubicBezTo>
                  <a:pt x="358434" y="78470"/>
                  <a:pt x="357903" y="78433"/>
                  <a:pt x="357476" y="78358"/>
                </a:cubicBezTo>
                <a:cubicBezTo>
                  <a:pt x="357048" y="78284"/>
                  <a:pt x="356704" y="78191"/>
                  <a:pt x="356443" y="78079"/>
                </a:cubicBezTo>
                <a:cubicBezTo>
                  <a:pt x="356183" y="77968"/>
                  <a:pt x="356006" y="77819"/>
                  <a:pt x="355913" y="77633"/>
                </a:cubicBezTo>
                <a:cubicBezTo>
                  <a:pt x="355820" y="77447"/>
                  <a:pt x="355773" y="77242"/>
                  <a:pt x="355773" y="77019"/>
                </a:cubicBezTo>
                <a:lnTo>
                  <a:pt x="355773" y="26510"/>
                </a:lnTo>
                <a:cubicBezTo>
                  <a:pt x="355773" y="26287"/>
                  <a:pt x="355820" y="26082"/>
                  <a:pt x="355913" y="25896"/>
                </a:cubicBezTo>
                <a:cubicBezTo>
                  <a:pt x="356006" y="25710"/>
                  <a:pt x="356183" y="25552"/>
                  <a:pt x="356443" y="25422"/>
                </a:cubicBezTo>
                <a:cubicBezTo>
                  <a:pt x="356704" y="25292"/>
                  <a:pt x="357029" y="25199"/>
                  <a:pt x="357420" y="25143"/>
                </a:cubicBezTo>
                <a:cubicBezTo>
                  <a:pt x="357810" y="25087"/>
                  <a:pt x="358322" y="25059"/>
                  <a:pt x="358955" y="25059"/>
                </a:cubicBezTo>
                <a:cubicBezTo>
                  <a:pt x="359587" y="25059"/>
                  <a:pt x="360108" y="25087"/>
                  <a:pt x="360517" y="25143"/>
                </a:cubicBezTo>
                <a:cubicBezTo>
                  <a:pt x="360927" y="25199"/>
                  <a:pt x="361243" y="25292"/>
                  <a:pt x="361466" y="25422"/>
                </a:cubicBezTo>
                <a:cubicBezTo>
                  <a:pt x="361689" y="25552"/>
                  <a:pt x="361847" y="25710"/>
                  <a:pt x="361940" y="25896"/>
                </a:cubicBezTo>
                <a:cubicBezTo>
                  <a:pt x="362033" y="26082"/>
                  <a:pt x="362080" y="26287"/>
                  <a:pt x="362080" y="26510"/>
                </a:cubicBezTo>
                <a:lnTo>
                  <a:pt x="362080" y="33654"/>
                </a:lnTo>
                <a:cubicBezTo>
                  <a:pt x="364982" y="30417"/>
                  <a:pt x="367828" y="28073"/>
                  <a:pt x="370619" y="26622"/>
                </a:cubicBezTo>
                <a:cubicBezTo>
                  <a:pt x="373409" y="25171"/>
                  <a:pt x="376181" y="24445"/>
                  <a:pt x="378935" y="24445"/>
                </a:cubicBezTo>
                <a:close/>
                <a:moveTo>
                  <a:pt x="318492" y="24445"/>
                </a:moveTo>
                <a:cubicBezTo>
                  <a:pt x="322287" y="24445"/>
                  <a:pt x="325524" y="25078"/>
                  <a:pt x="328203" y="26343"/>
                </a:cubicBezTo>
                <a:cubicBezTo>
                  <a:pt x="330882" y="27608"/>
                  <a:pt x="333086" y="29310"/>
                  <a:pt x="334817" y="31450"/>
                </a:cubicBezTo>
                <a:cubicBezTo>
                  <a:pt x="336547" y="33589"/>
                  <a:pt x="337812" y="36073"/>
                  <a:pt x="338612" y="38900"/>
                </a:cubicBezTo>
                <a:cubicBezTo>
                  <a:pt x="339412" y="41728"/>
                  <a:pt x="339812" y="44705"/>
                  <a:pt x="339812" y="47830"/>
                </a:cubicBezTo>
                <a:lnTo>
                  <a:pt x="339812" y="49169"/>
                </a:lnTo>
                <a:cubicBezTo>
                  <a:pt x="339812" y="50509"/>
                  <a:pt x="339458" y="51430"/>
                  <a:pt x="338751" y="51932"/>
                </a:cubicBezTo>
                <a:cubicBezTo>
                  <a:pt x="338044" y="52434"/>
                  <a:pt x="337356" y="52686"/>
                  <a:pt x="336686" y="52686"/>
                </a:cubicBezTo>
                <a:lnTo>
                  <a:pt x="302251" y="52686"/>
                </a:lnTo>
                <a:cubicBezTo>
                  <a:pt x="302251" y="55811"/>
                  <a:pt x="302558" y="58639"/>
                  <a:pt x="303172" y="61169"/>
                </a:cubicBezTo>
                <a:cubicBezTo>
                  <a:pt x="303786" y="63699"/>
                  <a:pt x="304800" y="65866"/>
                  <a:pt x="306214" y="67671"/>
                </a:cubicBezTo>
                <a:cubicBezTo>
                  <a:pt x="307627" y="69475"/>
                  <a:pt x="309469" y="70861"/>
                  <a:pt x="311739" y="71829"/>
                </a:cubicBezTo>
                <a:cubicBezTo>
                  <a:pt x="314008" y="72796"/>
                  <a:pt x="316799" y="73280"/>
                  <a:pt x="320110" y="73280"/>
                </a:cubicBezTo>
                <a:cubicBezTo>
                  <a:pt x="322454" y="73280"/>
                  <a:pt x="324557" y="73075"/>
                  <a:pt x="326417" y="72666"/>
                </a:cubicBezTo>
                <a:cubicBezTo>
                  <a:pt x="328277" y="72256"/>
                  <a:pt x="329887" y="71801"/>
                  <a:pt x="331245" y="71298"/>
                </a:cubicBezTo>
                <a:cubicBezTo>
                  <a:pt x="332603" y="70796"/>
                  <a:pt x="333719" y="70340"/>
                  <a:pt x="334593" y="69931"/>
                </a:cubicBezTo>
                <a:cubicBezTo>
                  <a:pt x="335468" y="69522"/>
                  <a:pt x="336091" y="69317"/>
                  <a:pt x="336463" y="69317"/>
                </a:cubicBezTo>
                <a:cubicBezTo>
                  <a:pt x="336686" y="69317"/>
                  <a:pt x="336891" y="69373"/>
                  <a:pt x="337077" y="69484"/>
                </a:cubicBezTo>
                <a:cubicBezTo>
                  <a:pt x="337263" y="69596"/>
                  <a:pt x="337412" y="69773"/>
                  <a:pt x="337523" y="70015"/>
                </a:cubicBezTo>
                <a:cubicBezTo>
                  <a:pt x="337635" y="70257"/>
                  <a:pt x="337719" y="70564"/>
                  <a:pt x="337774" y="70936"/>
                </a:cubicBezTo>
                <a:cubicBezTo>
                  <a:pt x="337830" y="71308"/>
                  <a:pt x="337858" y="71773"/>
                  <a:pt x="337858" y="72331"/>
                </a:cubicBezTo>
                <a:cubicBezTo>
                  <a:pt x="337858" y="72591"/>
                  <a:pt x="337840" y="72842"/>
                  <a:pt x="337802" y="73084"/>
                </a:cubicBezTo>
                <a:cubicBezTo>
                  <a:pt x="337765" y="73326"/>
                  <a:pt x="337719" y="73549"/>
                  <a:pt x="337663" y="73754"/>
                </a:cubicBezTo>
                <a:cubicBezTo>
                  <a:pt x="337607" y="73959"/>
                  <a:pt x="337523" y="74154"/>
                  <a:pt x="337412" y="74340"/>
                </a:cubicBezTo>
                <a:cubicBezTo>
                  <a:pt x="337300" y="74526"/>
                  <a:pt x="337151" y="74712"/>
                  <a:pt x="336965" y="74898"/>
                </a:cubicBezTo>
                <a:cubicBezTo>
                  <a:pt x="336779" y="75084"/>
                  <a:pt x="336202" y="75410"/>
                  <a:pt x="335235" y="75875"/>
                </a:cubicBezTo>
                <a:cubicBezTo>
                  <a:pt x="334268" y="76340"/>
                  <a:pt x="333003" y="76805"/>
                  <a:pt x="331440" y="77270"/>
                </a:cubicBezTo>
                <a:cubicBezTo>
                  <a:pt x="329877" y="77735"/>
                  <a:pt x="328063" y="78154"/>
                  <a:pt x="325998" y="78526"/>
                </a:cubicBezTo>
                <a:cubicBezTo>
                  <a:pt x="323933" y="78898"/>
                  <a:pt x="321710" y="79084"/>
                  <a:pt x="319329" y="79084"/>
                </a:cubicBezTo>
                <a:cubicBezTo>
                  <a:pt x="315422" y="79084"/>
                  <a:pt x="311962" y="78498"/>
                  <a:pt x="308948" y="77326"/>
                </a:cubicBezTo>
                <a:cubicBezTo>
                  <a:pt x="305935" y="76154"/>
                  <a:pt x="303404" y="74424"/>
                  <a:pt x="301358" y="72136"/>
                </a:cubicBezTo>
                <a:cubicBezTo>
                  <a:pt x="299312" y="69847"/>
                  <a:pt x="297758" y="67010"/>
                  <a:pt x="296698" y="63624"/>
                </a:cubicBezTo>
                <a:cubicBezTo>
                  <a:pt x="295637" y="60239"/>
                  <a:pt x="295107" y="56313"/>
                  <a:pt x="295107" y="51848"/>
                </a:cubicBezTo>
                <a:cubicBezTo>
                  <a:pt x="295107" y="47570"/>
                  <a:pt x="295656" y="43737"/>
                  <a:pt x="296754" y="40351"/>
                </a:cubicBezTo>
                <a:cubicBezTo>
                  <a:pt x="297851" y="36966"/>
                  <a:pt x="299423" y="34091"/>
                  <a:pt x="301470" y="31729"/>
                </a:cubicBezTo>
                <a:cubicBezTo>
                  <a:pt x="303516" y="29366"/>
                  <a:pt x="305981" y="27561"/>
                  <a:pt x="308865" y="26315"/>
                </a:cubicBezTo>
                <a:cubicBezTo>
                  <a:pt x="311748" y="25069"/>
                  <a:pt x="314957" y="24445"/>
                  <a:pt x="318492" y="24445"/>
                </a:cubicBezTo>
                <a:close/>
                <a:moveTo>
                  <a:pt x="140810" y="24445"/>
                </a:moveTo>
                <a:cubicBezTo>
                  <a:pt x="144121" y="24445"/>
                  <a:pt x="146912" y="25003"/>
                  <a:pt x="149181" y="26120"/>
                </a:cubicBezTo>
                <a:cubicBezTo>
                  <a:pt x="151451" y="27236"/>
                  <a:pt x="153283" y="28743"/>
                  <a:pt x="154679" y="30640"/>
                </a:cubicBezTo>
                <a:cubicBezTo>
                  <a:pt x="156074" y="32538"/>
                  <a:pt x="157079" y="34752"/>
                  <a:pt x="157692" y="37282"/>
                </a:cubicBezTo>
                <a:cubicBezTo>
                  <a:pt x="158306" y="39812"/>
                  <a:pt x="158613" y="42863"/>
                  <a:pt x="158613" y="46435"/>
                </a:cubicBezTo>
                <a:lnTo>
                  <a:pt x="158613" y="77019"/>
                </a:lnTo>
                <a:cubicBezTo>
                  <a:pt x="158613" y="77242"/>
                  <a:pt x="158557" y="77447"/>
                  <a:pt x="158446" y="77633"/>
                </a:cubicBezTo>
                <a:cubicBezTo>
                  <a:pt x="158334" y="77819"/>
                  <a:pt x="158158" y="77968"/>
                  <a:pt x="157916" y="78079"/>
                </a:cubicBezTo>
                <a:cubicBezTo>
                  <a:pt x="157674" y="78191"/>
                  <a:pt x="157339" y="78284"/>
                  <a:pt x="156911" y="78358"/>
                </a:cubicBezTo>
                <a:cubicBezTo>
                  <a:pt x="156483" y="78433"/>
                  <a:pt x="155953" y="78470"/>
                  <a:pt x="155320" y="78470"/>
                </a:cubicBezTo>
                <a:cubicBezTo>
                  <a:pt x="154651" y="78470"/>
                  <a:pt x="154102" y="78433"/>
                  <a:pt x="153674" y="78358"/>
                </a:cubicBezTo>
                <a:cubicBezTo>
                  <a:pt x="153246" y="78284"/>
                  <a:pt x="152911" y="78191"/>
                  <a:pt x="152669" y="78079"/>
                </a:cubicBezTo>
                <a:cubicBezTo>
                  <a:pt x="152428" y="77968"/>
                  <a:pt x="152251" y="77819"/>
                  <a:pt x="152139" y="77633"/>
                </a:cubicBezTo>
                <a:cubicBezTo>
                  <a:pt x="152028" y="77447"/>
                  <a:pt x="151972" y="77242"/>
                  <a:pt x="151972" y="77019"/>
                </a:cubicBezTo>
                <a:lnTo>
                  <a:pt x="151972" y="47049"/>
                </a:lnTo>
                <a:cubicBezTo>
                  <a:pt x="151972" y="43923"/>
                  <a:pt x="151730" y="41384"/>
                  <a:pt x="151246" y="39431"/>
                </a:cubicBezTo>
                <a:cubicBezTo>
                  <a:pt x="150763" y="37477"/>
                  <a:pt x="150037" y="35803"/>
                  <a:pt x="149070" y="34408"/>
                </a:cubicBezTo>
                <a:cubicBezTo>
                  <a:pt x="148102" y="33012"/>
                  <a:pt x="146865" y="31933"/>
                  <a:pt x="145358" y="31171"/>
                </a:cubicBezTo>
                <a:cubicBezTo>
                  <a:pt x="143851" y="30408"/>
                  <a:pt x="142093" y="30026"/>
                  <a:pt x="140084" y="30026"/>
                </a:cubicBezTo>
                <a:cubicBezTo>
                  <a:pt x="137517" y="30026"/>
                  <a:pt x="134950" y="30938"/>
                  <a:pt x="132382" y="32761"/>
                </a:cubicBezTo>
                <a:cubicBezTo>
                  <a:pt x="129815" y="34584"/>
                  <a:pt x="127118" y="37263"/>
                  <a:pt x="124290" y="40798"/>
                </a:cubicBezTo>
                <a:lnTo>
                  <a:pt x="124290" y="77019"/>
                </a:lnTo>
                <a:cubicBezTo>
                  <a:pt x="124290" y="77242"/>
                  <a:pt x="124234" y="77447"/>
                  <a:pt x="124122" y="77633"/>
                </a:cubicBezTo>
                <a:cubicBezTo>
                  <a:pt x="124011" y="77819"/>
                  <a:pt x="123834" y="77968"/>
                  <a:pt x="123592" y="78079"/>
                </a:cubicBezTo>
                <a:cubicBezTo>
                  <a:pt x="123350" y="78191"/>
                  <a:pt x="123015" y="78284"/>
                  <a:pt x="122588" y="78358"/>
                </a:cubicBezTo>
                <a:cubicBezTo>
                  <a:pt x="122160" y="78433"/>
                  <a:pt x="121611" y="78470"/>
                  <a:pt x="120941" y="78470"/>
                </a:cubicBezTo>
                <a:cubicBezTo>
                  <a:pt x="120309" y="78470"/>
                  <a:pt x="119778" y="78433"/>
                  <a:pt x="119351" y="78358"/>
                </a:cubicBezTo>
                <a:cubicBezTo>
                  <a:pt x="118923" y="78284"/>
                  <a:pt x="118579" y="78191"/>
                  <a:pt x="118318" y="78079"/>
                </a:cubicBezTo>
                <a:cubicBezTo>
                  <a:pt x="118058" y="77968"/>
                  <a:pt x="117881" y="77819"/>
                  <a:pt x="117788" y="77633"/>
                </a:cubicBezTo>
                <a:cubicBezTo>
                  <a:pt x="117695" y="77447"/>
                  <a:pt x="117648" y="77242"/>
                  <a:pt x="117648" y="77019"/>
                </a:cubicBezTo>
                <a:lnTo>
                  <a:pt x="117648" y="26510"/>
                </a:lnTo>
                <a:cubicBezTo>
                  <a:pt x="117648" y="26287"/>
                  <a:pt x="117695" y="26082"/>
                  <a:pt x="117788" y="25896"/>
                </a:cubicBezTo>
                <a:cubicBezTo>
                  <a:pt x="117881" y="25710"/>
                  <a:pt x="118058" y="25552"/>
                  <a:pt x="118318" y="25422"/>
                </a:cubicBezTo>
                <a:cubicBezTo>
                  <a:pt x="118579" y="25292"/>
                  <a:pt x="118904" y="25199"/>
                  <a:pt x="119295" y="25143"/>
                </a:cubicBezTo>
                <a:cubicBezTo>
                  <a:pt x="119685" y="25087"/>
                  <a:pt x="120197" y="25059"/>
                  <a:pt x="120830" y="25059"/>
                </a:cubicBezTo>
                <a:cubicBezTo>
                  <a:pt x="121462" y="25059"/>
                  <a:pt x="121983" y="25087"/>
                  <a:pt x="122392" y="25143"/>
                </a:cubicBezTo>
                <a:cubicBezTo>
                  <a:pt x="122802" y="25199"/>
                  <a:pt x="123118" y="25292"/>
                  <a:pt x="123341" y="25422"/>
                </a:cubicBezTo>
                <a:cubicBezTo>
                  <a:pt x="123564" y="25552"/>
                  <a:pt x="123722" y="25710"/>
                  <a:pt x="123815" y="25896"/>
                </a:cubicBezTo>
                <a:cubicBezTo>
                  <a:pt x="123908" y="26082"/>
                  <a:pt x="123955" y="26287"/>
                  <a:pt x="123955" y="26510"/>
                </a:cubicBezTo>
                <a:lnTo>
                  <a:pt x="123955" y="33654"/>
                </a:lnTo>
                <a:cubicBezTo>
                  <a:pt x="126857" y="30417"/>
                  <a:pt x="129703" y="28073"/>
                  <a:pt x="132494" y="26622"/>
                </a:cubicBezTo>
                <a:cubicBezTo>
                  <a:pt x="135285" y="25171"/>
                  <a:pt x="138056" y="24445"/>
                  <a:pt x="140810" y="24445"/>
                </a:cubicBezTo>
                <a:close/>
                <a:moveTo>
                  <a:pt x="81483" y="24445"/>
                </a:moveTo>
                <a:cubicBezTo>
                  <a:pt x="85427" y="24445"/>
                  <a:pt x="88878" y="25059"/>
                  <a:pt x="91836" y="26287"/>
                </a:cubicBezTo>
                <a:cubicBezTo>
                  <a:pt x="94794" y="27515"/>
                  <a:pt x="97259" y="29292"/>
                  <a:pt x="99231" y="31617"/>
                </a:cubicBezTo>
                <a:cubicBezTo>
                  <a:pt x="101203" y="33942"/>
                  <a:pt x="102691" y="36761"/>
                  <a:pt x="103696" y="40072"/>
                </a:cubicBezTo>
                <a:cubicBezTo>
                  <a:pt x="104700" y="43384"/>
                  <a:pt x="105203" y="47104"/>
                  <a:pt x="105203" y="51234"/>
                </a:cubicBezTo>
                <a:cubicBezTo>
                  <a:pt x="105203" y="55253"/>
                  <a:pt x="104682" y="58955"/>
                  <a:pt x="103640" y="62341"/>
                </a:cubicBezTo>
                <a:cubicBezTo>
                  <a:pt x="102598" y="65727"/>
                  <a:pt x="101045" y="68666"/>
                  <a:pt x="98980" y="71159"/>
                </a:cubicBezTo>
                <a:cubicBezTo>
                  <a:pt x="96915" y="73652"/>
                  <a:pt x="94338" y="75596"/>
                  <a:pt x="91250" y="76991"/>
                </a:cubicBezTo>
                <a:cubicBezTo>
                  <a:pt x="88162" y="78386"/>
                  <a:pt x="84571" y="79084"/>
                  <a:pt x="80479" y="79084"/>
                </a:cubicBezTo>
                <a:cubicBezTo>
                  <a:pt x="76535" y="79084"/>
                  <a:pt x="73084" y="78461"/>
                  <a:pt x="70126" y="77214"/>
                </a:cubicBezTo>
                <a:cubicBezTo>
                  <a:pt x="67168" y="75968"/>
                  <a:pt x="64693" y="74182"/>
                  <a:pt x="62703" y="71856"/>
                </a:cubicBezTo>
                <a:cubicBezTo>
                  <a:pt x="60712" y="69531"/>
                  <a:pt x="59224" y="66713"/>
                  <a:pt x="58238" y="63401"/>
                </a:cubicBezTo>
                <a:cubicBezTo>
                  <a:pt x="57252" y="60090"/>
                  <a:pt x="56759" y="56350"/>
                  <a:pt x="56759" y="52183"/>
                </a:cubicBezTo>
                <a:cubicBezTo>
                  <a:pt x="56759" y="48165"/>
                  <a:pt x="57271" y="44463"/>
                  <a:pt x="58294" y="41077"/>
                </a:cubicBezTo>
                <a:cubicBezTo>
                  <a:pt x="59317" y="37691"/>
                  <a:pt x="60861" y="34761"/>
                  <a:pt x="62926" y="32287"/>
                </a:cubicBezTo>
                <a:cubicBezTo>
                  <a:pt x="64991" y="29812"/>
                  <a:pt x="67568" y="27887"/>
                  <a:pt x="70656" y="26510"/>
                </a:cubicBezTo>
                <a:cubicBezTo>
                  <a:pt x="73744" y="25134"/>
                  <a:pt x="77353" y="24445"/>
                  <a:pt x="81483" y="24445"/>
                </a:cubicBezTo>
                <a:close/>
                <a:moveTo>
                  <a:pt x="418281" y="11497"/>
                </a:moveTo>
                <a:cubicBezTo>
                  <a:pt x="418951" y="11497"/>
                  <a:pt x="419500" y="11525"/>
                  <a:pt x="419928" y="11581"/>
                </a:cubicBezTo>
                <a:cubicBezTo>
                  <a:pt x="420355" y="11637"/>
                  <a:pt x="420690" y="11730"/>
                  <a:pt x="420932" y="11860"/>
                </a:cubicBezTo>
                <a:cubicBezTo>
                  <a:pt x="421174" y="11990"/>
                  <a:pt x="421351" y="12148"/>
                  <a:pt x="421462" y="12334"/>
                </a:cubicBezTo>
                <a:cubicBezTo>
                  <a:pt x="421574" y="12521"/>
                  <a:pt x="421630" y="12725"/>
                  <a:pt x="421630" y="12948"/>
                </a:cubicBezTo>
                <a:lnTo>
                  <a:pt x="421630" y="25338"/>
                </a:lnTo>
                <a:lnTo>
                  <a:pt x="435582" y="25338"/>
                </a:lnTo>
                <a:cubicBezTo>
                  <a:pt x="435843" y="25338"/>
                  <a:pt x="436075" y="25394"/>
                  <a:pt x="436280" y="25506"/>
                </a:cubicBezTo>
                <a:cubicBezTo>
                  <a:pt x="436485" y="25617"/>
                  <a:pt x="436661" y="25794"/>
                  <a:pt x="436810" y="26036"/>
                </a:cubicBezTo>
                <a:cubicBezTo>
                  <a:pt x="436959" y="26278"/>
                  <a:pt x="437071" y="26575"/>
                  <a:pt x="437145" y="26929"/>
                </a:cubicBezTo>
                <a:cubicBezTo>
                  <a:pt x="437220" y="27282"/>
                  <a:pt x="437257" y="27701"/>
                  <a:pt x="437257" y="28185"/>
                </a:cubicBezTo>
                <a:cubicBezTo>
                  <a:pt x="437257" y="29115"/>
                  <a:pt x="437099" y="29812"/>
                  <a:pt x="436782" y="30278"/>
                </a:cubicBezTo>
                <a:cubicBezTo>
                  <a:pt x="436466" y="30743"/>
                  <a:pt x="436066" y="30975"/>
                  <a:pt x="435582" y="30975"/>
                </a:cubicBezTo>
                <a:lnTo>
                  <a:pt x="421630" y="30975"/>
                </a:lnTo>
                <a:lnTo>
                  <a:pt x="421630" y="61504"/>
                </a:lnTo>
                <a:cubicBezTo>
                  <a:pt x="421630" y="65336"/>
                  <a:pt x="422179" y="68257"/>
                  <a:pt x="423276" y="70266"/>
                </a:cubicBezTo>
                <a:cubicBezTo>
                  <a:pt x="424374" y="72275"/>
                  <a:pt x="426374" y="73280"/>
                  <a:pt x="429276" y="73280"/>
                </a:cubicBezTo>
                <a:cubicBezTo>
                  <a:pt x="430169" y="73280"/>
                  <a:pt x="430978" y="73187"/>
                  <a:pt x="431704" y="73001"/>
                </a:cubicBezTo>
                <a:cubicBezTo>
                  <a:pt x="432429" y="72815"/>
                  <a:pt x="433071" y="72610"/>
                  <a:pt x="433629" y="72387"/>
                </a:cubicBezTo>
                <a:cubicBezTo>
                  <a:pt x="434187" y="72163"/>
                  <a:pt x="434662" y="71959"/>
                  <a:pt x="435052" y="71773"/>
                </a:cubicBezTo>
                <a:cubicBezTo>
                  <a:pt x="435443" y="71587"/>
                  <a:pt x="435787" y="71494"/>
                  <a:pt x="436085" y="71494"/>
                </a:cubicBezTo>
                <a:cubicBezTo>
                  <a:pt x="436271" y="71494"/>
                  <a:pt x="436438" y="71531"/>
                  <a:pt x="436587" y="71605"/>
                </a:cubicBezTo>
                <a:cubicBezTo>
                  <a:pt x="436736" y="71680"/>
                  <a:pt x="436857" y="71819"/>
                  <a:pt x="436950" y="72024"/>
                </a:cubicBezTo>
                <a:cubicBezTo>
                  <a:pt x="437043" y="72229"/>
                  <a:pt x="437117" y="72489"/>
                  <a:pt x="437173" y="72805"/>
                </a:cubicBezTo>
                <a:cubicBezTo>
                  <a:pt x="437229" y="73121"/>
                  <a:pt x="437257" y="73521"/>
                  <a:pt x="437257" y="74005"/>
                </a:cubicBezTo>
                <a:cubicBezTo>
                  <a:pt x="437257" y="74787"/>
                  <a:pt x="437192" y="75419"/>
                  <a:pt x="437061" y="75903"/>
                </a:cubicBezTo>
                <a:cubicBezTo>
                  <a:pt x="436931" y="76386"/>
                  <a:pt x="436727" y="76768"/>
                  <a:pt x="436447" y="77047"/>
                </a:cubicBezTo>
                <a:cubicBezTo>
                  <a:pt x="436168" y="77326"/>
                  <a:pt x="435759" y="77586"/>
                  <a:pt x="435220" y="77828"/>
                </a:cubicBezTo>
                <a:cubicBezTo>
                  <a:pt x="434680" y="78070"/>
                  <a:pt x="434057" y="78275"/>
                  <a:pt x="433350" y="78442"/>
                </a:cubicBezTo>
                <a:cubicBezTo>
                  <a:pt x="432643" y="78610"/>
                  <a:pt x="431899" y="78740"/>
                  <a:pt x="431118" y="78833"/>
                </a:cubicBezTo>
                <a:cubicBezTo>
                  <a:pt x="430336" y="78926"/>
                  <a:pt x="429573" y="78972"/>
                  <a:pt x="428829" y="78972"/>
                </a:cubicBezTo>
                <a:cubicBezTo>
                  <a:pt x="426336" y="78972"/>
                  <a:pt x="424216" y="78637"/>
                  <a:pt x="422467" y="77968"/>
                </a:cubicBezTo>
                <a:cubicBezTo>
                  <a:pt x="420718" y="77298"/>
                  <a:pt x="419286" y="76284"/>
                  <a:pt x="418170" y="74926"/>
                </a:cubicBezTo>
                <a:cubicBezTo>
                  <a:pt x="417053" y="73568"/>
                  <a:pt x="416244" y="71847"/>
                  <a:pt x="415742" y="69764"/>
                </a:cubicBezTo>
                <a:cubicBezTo>
                  <a:pt x="415239" y="67680"/>
                  <a:pt x="414988" y="65224"/>
                  <a:pt x="414988" y="62397"/>
                </a:cubicBezTo>
                <a:lnTo>
                  <a:pt x="414988" y="30975"/>
                </a:lnTo>
                <a:lnTo>
                  <a:pt x="407454" y="30975"/>
                </a:lnTo>
                <a:cubicBezTo>
                  <a:pt x="406933" y="30975"/>
                  <a:pt x="406524" y="30743"/>
                  <a:pt x="406226" y="30278"/>
                </a:cubicBezTo>
                <a:cubicBezTo>
                  <a:pt x="405928" y="29812"/>
                  <a:pt x="405780" y="29115"/>
                  <a:pt x="405780" y="28185"/>
                </a:cubicBezTo>
                <a:cubicBezTo>
                  <a:pt x="405780" y="27701"/>
                  <a:pt x="405817" y="27282"/>
                  <a:pt x="405891" y="26929"/>
                </a:cubicBezTo>
                <a:cubicBezTo>
                  <a:pt x="405966" y="26575"/>
                  <a:pt x="406077" y="26278"/>
                  <a:pt x="406226" y="26036"/>
                </a:cubicBezTo>
                <a:cubicBezTo>
                  <a:pt x="406375" y="25794"/>
                  <a:pt x="406552" y="25617"/>
                  <a:pt x="406756" y="25506"/>
                </a:cubicBezTo>
                <a:cubicBezTo>
                  <a:pt x="406961" y="25394"/>
                  <a:pt x="407193" y="25338"/>
                  <a:pt x="407454" y="25338"/>
                </a:cubicBezTo>
                <a:lnTo>
                  <a:pt x="414988" y="25338"/>
                </a:lnTo>
                <a:lnTo>
                  <a:pt x="414988" y="12948"/>
                </a:lnTo>
                <a:cubicBezTo>
                  <a:pt x="414988" y="12725"/>
                  <a:pt x="415035" y="12521"/>
                  <a:pt x="415128" y="12334"/>
                </a:cubicBezTo>
                <a:cubicBezTo>
                  <a:pt x="415221" y="12148"/>
                  <a:pt x="415398" y="11990"/>
                  <a:pt x="415658" y="11860"/>
                </a:cubicBezTo>
                <a:cubicBezTo>
                  <a:pt x="415919" y="11730"/>
                  <a:pt x="416263" y="11637"/>
                  <a:pt x="416691" y="11581"/>
                </a:cubicBezTo>
                <a:cubicBezTo>
                  <a:pt x="417118" y="11525"/>
                  <a:pt x="417649" y="11497"/>
                  <a:pt x="418281" y="11497"/>
                </a:cubicBezTo>
                <a:close/>
                <a:moveTo>
                  <a:pt x="30751" y="5191"/>
                </a:moveTo>
                <a:cubicBezTo>
                  <a:pt x="32909" y="5191"/>
                  <a:pt x="35002" y="5395"/>
                  <a:pt x="37030" y="5805"/>
                </a:cubicBezTo>
                <a:cubicBezTo>
                  <a:pt x="39058" y="6214"/>
                  <a:pt x="40927" y="6735"/>
                  <a:pt x="42639" y="7367"/>
                </a:cubicBezTo>
                <a:cubicBezTo>
                  <a:pt x="44351" y="8000"/>
                  <a:pt x="45885" y="8725"/>
                  <a:pt x="47243" y="9544"/>
                </a:cubicBezTo>
                <a:cubicBezTo>
                  <a:pt x="48601" y="10363"/>
                  <a:pt x="49532" y="11023"/>
                  <a:pt x="50034" y="11525"/>
                </a:cubicBezTo>
                <a:cubicBezTo>
                  <a:pt x="50536" y="12028"/>
                  <a:pt x="50852" y="12390"/>
                  <a:pt x="50983" y="12614"/>
                </a:cubicBezTo>
                <a:cubicBezTo>
                  <a:pt x="51113" y="12837"/>
                  <a:pt x="51215" y="13088"/>
                  <a:pt x="51290" y="13367"/>
                </a:cubicBezTo>
                <a:cubicBezTo>
                  <a:pt x="51364" y="13646"/>
                  <a:pt x="51420" y="13962"/>
                  <a:pt x="51457" y="14316"/>
                </a:cubicBezTo>
                <a:cubicBezTo>
                  <a:pt x="51494" y="14669"/>
                  <a:pt x="51513" y="15069"/>
                  <a:pt x="51513" y="15516"/>
                </a:cubicBezTo>
                <a:cubicBezTo>
                  <a:pt x="51513" y="16037"/>
                  <a:pt x="51485" y="16492"/>
                  <a:pt x="51429" y="16883"/>
                </a:cubicBezTo>
                <a:cubicBezTo>
                  <a:pt x="51373" y="17274"/>
                  <a:pt x="51280" y="17609"/>
                  <a:pt x="51150" y="17888"/>
                </a:cubicBezTo>
                <a:cubicBezTo>
                  <a:pt x="51020" y="18167"/>
                  <a:pt x="50862" y="18381"/>
                  <a:pt x="50676" y="18529"/>
                </a:cubicBezTo>
                <a:cubicBezTo>
                  <a:pt x="50490" y="18678"/>
                  <a:pt x="50266" y="18753"/>
                  <a:pt x="50006" y="18753"/>
                </a:cubicBezTo>
                <a:cubicBezTo>
                  <a:pt x="49485" y="18753"/>
                  <a:pt x="48750" y="18371"/>
                  <a:pt x="47801" y="17609"/>
                </a:cubicBezTo>
                <a:cubicBezTo>
                  <a:pt x="46853" y="16846"/>
                  <a:pt x="45606" y="15999"/>
                  <a:pt x="44062" y="15069"/>
                </a:cubicBezTo>
                <a:cubicBezTo>
                  <a:pt x="42518" y="14139"/>
                  <a:pt x="40630" y="13293"/>
                  <a:pt x="38397" y="12530"/>
                </a:cubicBezTo>
                <a:cubicBezTo>
                  <a:pt x="36165" y="11767"/>
                  <a:pt x="33505" y="11386"/>
                  <a:pt x="30416" y="11386"/>
                </a:cubicBezTo>
                <a:cubicBezTo>
                  <a:pt x="27031" y="11386"/>
                  <a:pt x="23924" y="12065"/>
                  <a:pt x="21096" y="13423"/>
                </a:cubicBezTo>
                <a:cubicBezTo>
                  <a:pt x="18269" y="14781"/>
                  <a:pt x="15841" y="16781"/>
                  <a:pt x="13813" y="19422"/>
                </a:cubicBezTo>
                <a:cubicBezTo>
                  <a:pt x="11785" y="22064"/>
                  <a:pt x="10204" y="25320"/>
                  <a:pt x="9069" y="29189"/>
                </a:cubicBezTo>
                <a:cubicBezTo>
                  <a:pt x="7934" y="33059"/>
                  <a:pt x="7367" y="37505"/>
                  <a:pt x="7367" y="42528"/>
                </a:cubicBezTo>
                <a:cubicBezTo>
                  <a:pt x="7367" y="47328"/>
                  <a:pt x="7888" y="51588"/>
                  <a:pt x="8930" y="55309"/>
                </a:cubicBezTo>
                <a:cubicBezTo>
                  <a:pt x="9971" y="59029"/>
                  <a:pt x="11478" y="62164"/>
                  <a:pt x="13450" y="64713"/>
                </a:cubicBezTo>
                <a:cubicBezTo>
                  <a:pt x="15422" y="67261"/>
                  <a:pt x="17859" y="69205"/>
                  <a:pt x="20762" y="70545"/>
                </a:cubicBezTo>
                <a:cubicBezTo>
                  <a:pt x="23664" y="71884"/>
                  <a:pt x="26956" y="72554"/>
                  <a:pt x="30640" y="72554"/>
                </a:cubicBezTo>
                <a:cubicBezTo>
                  <a:pt x="33653" y="72554"/>
                  <a:pt x="36286" y="72173"/>
                  <a:pt x="38537" y="71410"/>
                </a:cubicBezTo>
                <a:cubicBezTo>
                  <a:pt x="40788" y="70647"/>
                  <a:pt x="42713" y="69801"/>
                  <a:pt x="44313" y="68871"/>
                </a:cubicBezTo>
                <a:cubicBezTo>
                  <a:pt x="45913" y="67940"/>
                  <a:pt x="47225" y="67094"/>
                  <a:pt x="48248" y="66331"/>
                </a:cubicBezTo>
                <a:cubicBezTo>
                  <a:pt x="49271" y="65568"/>
                  <a:pt x="50062" y="65187"/>
                  <a:pt x="50620" y="65187"/>
                </a:cubicBezTo>
                <a:cubicBezTo>
                  <a:pt x="50843" y="65187"/>
                  <a:pt x="51029" y="65234"/>
                  <a:pt x="51178" y="65327"/>
                </a:cubicBezTo>
                <a:cubicBezTo>
                  <a:pt x="51327" y="65420"/>
                  <a:pt x="51448" y="65587"/>
                  <a:pt x="51541" y="65829"/>
                </a:cubicBezTo>
                <a:cubicBezTo>
                  <a:pt x="51634" y="66071"/>
                  <a:pt x="51708" y="66396"/>
                  <a:pt x="51764" y="66806"/>
                </a:cubicBezTo>
                <a:cubicBezTo>
                  <a:pt x="51820" y="67215"/>
                  <a:pt x="51848" y="67717"/>
                  <a:pt x="51848" y="68312"/>
                </a:cubicBezTo>
                <a:cubicBezTo>
                  <a:pt x="51848" y="68722"/>
                  <a:pt x="51829" y="69094"/>
                  <a:pt x="51792" y="69429"/>
                </a:cubicBezTo>
                <a:cubicBezTo>
                  <a:pt x="51755" y="69764"/>
                  <a:pt x="51699" y="70061"/>
                  <a:pt x="51625" y="70322"/>
                </a:cubicBezTo>
                <a:cubicBezTo>
                  <a:pt x="51550" y="70582"/>
                  <a:pt x="51448" y="70824"/>
                  <a:pt x="51318" y="71047"/>
                </a:cubicBezTo>
                <a:cubicBezTo>
                  <a:pt x="51187" y="71270"/>
                  <a:pt x="50945" y="71559"/>
                  <a:pt x="50592" y="71912"/>
                </a:cubicBezTo>
                <a:cubicBezTo>
                  <a:pt x="50239" y="72266"/>
                  <a:pt x="49466" y="72842"/>
                  <a:pt x="48276" y="73642"/>
                </a:cubicBezTo>
                <a:cubicBezTo>
                  <a:pt x="47085" y="74442"/>
                  <a:pt x="45588" y="75233"/>
                  <a:pt x="43783" y="76014"/>
                </a:cubicBezTo>
                <a:cubicBezTo>
                  <a:pt x="41979" y="76796"/>
                  <a:pt x="39904" y="77465"/>
                  <a:pt x="37560" y="78024"/>
                </a:cubicBezTo>
                <a:cubicBezTo>
                  <a:pt x="35216" y="78582"/>
                  <a:pt x="32630" y="78861"/>
                  <a:pt x="29803" y="78861"/>
                </a:cubicBezTo>
                <a:cubicBezTo>
                  <a:pt x="25263" y="78861"/>
                  <a:pt x="21152" y="78070"/>
                  <a:pt x="17469" y="76489"/>
                </a:cubicBezTo>
                <a:cubicBezTo>
                  <a:pt x="13785" y="74907"/>
                  <a:pt x="10651" y="72591"/>
                  <a:pt x="8065" y="69540"/>
                </a:cubicBezTo>
                <a:cubicBezTo>
                  <a:pt x="5479" y="66489"/>
                  <a:pt x="3488" y="62731"/>
                  <a:pt x="2093" y="58267"/>
                </a:cubicBezTo>
                <a:cubicBezTo>
                  <a:pt x="698" y="53802"/>
                  <a:pt x="0" y="48704"/>
                  <a:pt x="0" y="42974"/>
                </a:cubicBezTo>
                <a:cubicBezTo>
                  <a:pt x="0" y="37096"/>
                  <a:pt x="744" y="31822"/>
                  <a:pt x="2232" y="27152"/>
                </a:cubicBezTo>
                <a:cubicBezTo>
                  <a:pt x="3721" y="22483"/>
                  <a:pt x="5814" y="18520"/>
                  <a:pt x="8511" y="15265"/>
                </a:cubicBezTo>
                <a:cubicBezTo>
                  <a:pt x="11209" y="12009"/>
                  <a:pt x="14446" y="9516"/>
                  <a:pt x="18222" y="7786"/>
                </a:cubicBezTo>
                <a:cubicBezTo>
                  <a:pt x="21999" y="6056"/>
                  <a:pt x="26175" y="5191"/>
                  <a:pt x="30751" y="5191"/>
                </a:cubicBezTo>
                <a:close/>
                <a:moveTo>
                  <a:pt x="454372" y="4968"/>
                </a:moveTo>
                <a:cubicBezTo>
                  <a:pt x="456009" y="4968"/>
                  <a:pt x="457135" y="5274"/>
                  <a:pt x="457749" y="5888"/>
                </a:cubicBezTo>
                <a:cubicBezTo>
                  <a:pt x="458362" y="6502"/>
                  <a:pt x="458669" y="7702"/>
                  <a:pt x="458669" y="9488"/>
                </a:cubicBezTo>
                <a:cubicBezTo>
                  <a:pt x="458669" y="11274"/>
                  <a:pt x="458353" y="12483"/>
                  <a:pt x="457721" y="13116"/>
                </a:cubicBezTo>
                <a:cubicBezTo>
                  <a:pt x="457088" y="13748"/>
                  <a:pt x="455935" y="14065"/>
                  <a:pt x="454260" y="14065"/>
                </a:cubicBezTo>
                <a:cubicBezTo>
                  <a:pt x="452623" y="14065"/>
                  <a:pt x="451498" y="13758"/>
                  <a:pt x="450884" y="13144"/>
                </a:cubicBezTo>
                <a:cubicBezTo>
                  <a:pt x="450270" y="12530"/>
                  <a:pt x="449963" y="11330"/>
                  <a:pt x="449963" y="9544"/>
                </a:cubicBezTo>
                <a:cubicBezTo>
                  <a:pt x="449963" y="7758"/>
                  <a:pt x="450279" y="6549"/>
                  <a:pt x="450912" y="5916"/>
                </a:cubicBezTo>
                <a:cubicBezTo>
                  <a:pt x="451544" y="5284"/>
                  <a:pt x="452698" y="4968"/>
                  <a:pt x="454372" y="4968"/>
                </a:cubicBezTo>
                <a:close/>
                <a:moveTo>
                  <a:pt x="216247" y="4968"/>
                </a:moveTo>
                <a:cubicBezTo>
                  <a:pt x="217884" y="4968"/>
                  <a:pt x="219010" y="5274"/>
                  <a:pt x="219624" y="5888"/>
                </a:cubicBezTo>
                <a:cubicBezTo>
                  <a:pt x="220237" y="6502"/>
                  <a:pt x="220544" y="7702"/>
                  <a:pt x="220544" y="9488"/>
                </a:cubicBezTo>
                <a:cubicBezTo>
                  <a:pt x="220544" y="11274"/>
                  <a:pt x="220228" y="12483"/>
                  <a:pt x="219596" y="13116"/>
                </a:cubicBezTo>
                <a:cubicBezTo>
                  <a:pt x="218963" y="13748"/>
                  <a:pt x="217810" y="14065"/>
                  <a:pt x="216135" y="14065"/>
                </a:cubicBezTo>
                <a:cubicBezTo>
                  <a:pt x="214498" y="14065"/>
                  <a:pt x="213373" y="13758"/>
                  <a:pt x="212759" y="13144"/>
                </a:cubicBezTo>
                <a:cubicBezTo>
                  <a:pt x="212145" y="12530"/>
                  <a:pt x="211838" y="11330"/>
                  <a:pt x="211838" y="9544"/>
                </a:cubicBezTo>
                <a:cubicBezTo>
                  <a:pt x="211838" y="7758"/>
                  <a:pt x="212154" y="6549"/>
                  <a:pt x="212787" y="5916"/>
                </a:cubicBezTo>
                <a:cubicBezTo>
                  <a:pt x="213419" y="5284"/>
                  <a:pt x="214573" y="4968"/>
                  <a:pt x="216247" y="4968"/>
                </a:cubicBezTo>
                <a:close/>
                <a:moveTo>
                  <a:pt x="278866" y="614"/>
                </a:moveTo>
                <a:cubicBezTo>
                  <a:pt x="279536" y="614"/>
                  <a:pt x="280085" y="651"/>
                  <a:pt x="280513" y="726"/>
                </a:cubicBezTo>
                <a:cubicBezTo>
                  <a:pt x="280941" y="800"/>
                  <a:pt x="281276" y="893"/>
                  <a:pt x="281517" y="1005"/>
                </a:cubicBezTo>
                <a:cubicBezTo>
                  <a:pt x="281759" y="1117"/>
                  <a:pt x="281936" y="1265"/>
                  <a:pt x="282048" y="1451"/>
                </a:cubicBezTo>
                <a:cubicBezTo>
                  <a:pt x="282159" y="1637"/>
                  <a:pt x="282215" y="1842"/>
                  <a:pt x="282215" y="2065"/>
                </a:cubicBezTo>
                <a:lnTo>
                  <a:pt x="282215" y="77019"/>
                </a:lnTo>
                <a:cubicBezTo>
                  <a:pt x="282215" y="77279"/>
                  <a:pt x="282169" y="77503"/>
                  <a:pt x="282076" y="77689"/>
                </a:cubicBezTo>
                <a:cubicBezTo>
                  <a:pt x="281983" y="77875"/>
                  <a:pt x="281815" y="78024"/>
                  <a:pt x="281573" y="78135"/>
                </a:cubicBezTo>
                <a:cubicBezTo>
                  <a:pt x="281331" y="78247"/>
                  <a:pt x="281024" y="78330"/>
                  <a:pt x="280652" y="78386"/>
                </a:cubicBezTo>
                <a:cubicBezTo>
                  <a:pt x="280280" y="78442"/>
                  <a:pt x="279815" y="78470"/>
                  <a:pt x="279257" y="78470"/>
                </a:cubicBezTo>
                <a:cubicBezTo>
                  <a:pt x="278662" y="78470"/>
                  <a:pt x="278169" y="78442"/>
                  <a:pt x="277778" y="78386"/>
                </a:cubicBezTo>
                <a:cubicBezTo>
                  <a:pt x="277387" y="78330"/>
                  <a:pt x="277071" y="78247"/>
                  <a:pt x="276829" y="78135"/>
                </a:cubicBezTo>
                <a:cubicBezTo>
                  <a:pt x="276587" y="78024"/>
                  <a:pt x="276401" y="77875"/>
                  <a:pt x="276271" y="77689"/>
                </a:cubicBezTo>
                <a:cubicBezTo>
                  <a:pt x="276141" y="77503"/>
                  <a:pt x="276076" y="77279"/>
                  <a:pt x="276076" y="77019"/>
                </a:cubicBezTo>
                <a:lnTo>
                  <a:pt x="276076" y="69764"/>
                </a:lnTo>
                <a:cubicBezTo>
                  <a:pt x="273397" y="72666"/>
                  <a:pt x="270625" y="74945"/>
                  <a:pt x="267760" y="76600"/>
                </a:cubicBezTo>
                <a:cubicBezTo>
                  <a:pt x="264895" y="78256"/>
                  <a:pt x="261770" y="79084"/>
                  <a:pt x="258384" y="79084"/>
                </a:cubicBezTo>
                <a:cubicBezTo>
                  <a:pt x="254738" y="79084"/>
                  <a:pt x="251631" y="78377"/>
                  <a:pt x="249064" y="76963"/>
                </a:cubicBezTo>
                <a:cubicBezTo>
                  <a:pt x="246496" y="75549"/>
                  <a:pt x="244403" y="73633"/>
                  <a:pt x="242785" y="71215"/>
                </a:cubicBezTo>
                <a:cubicBezTo>
                  <a:pt x="241166" y="68796"/>
                  <a:pt x="239985" y="65959"/>
                  <a:pt x="239241" y="62704"/>
                </a:cubicBezTo>
                <a:cubicBezTo>
                  <a:pt x="238497" y="59448"/>
                  <a:pt x="238125" y="55997"/>
                  <a:pt x="238125" y="52351"/>
                </a:cubicBezTo>
                <a:cubicBezTo>
                  <a:pt x="238125" y="48072"/>
                  <a:pt x="238590" y="44212"/>
                  <a:pt x="239520" y="40770"/>
                </a:cubicBezTo>
                <a:cubicBezTo>
                  <a:pt x="240450" y="37328"/>
                  <a:pt x="241827" y="34398"/>
                  <a:pt x="243650" y="31980"/>
                </a:cubicBezTo>
                <a:cubicBezTo>
                  <a:pt x="245473" y="29561"/>
                  <a:pt x="247724" y="27701"/>
                  <a:pt x="250403" y="26399"/>
                </a:cubicBezTo>
                <a:cubicBezTo>
                  <a:pt x="253082" y="25097"/>
                  <a:pt x="256189" y="24445"/>
                  <a:pt x="259723" y="24445"/>
                </a:cubicBezTo>
                <a:cubicBezTo>
                  <a:pt x="262774" y="24445"/>
                  <a:pt x="265565" y="25124"/>
                  <a:pt x="268095" y="26482"/>
                </a:cubicBezTo>
                <a:cubicBezTo>
                  <a:pt x="270625" y="27841"/>
                  <a:pt x="273118" y="29840"/>
                  <a:pt x="275574" y="32482"/>
                </a:cubicBezTo>
                <a:lnTo>
                  <a:pt x="275574" y="2065"/>
                </a:lnTo>
                <a:cubicBezTo>
                  <a:pt x="275574" y="1842"/>
                  <a:pt x="275620" y="1637"/>
                  <a:pt x="275713" y="1451"/>
                </a:cubicBezTo>
                <a:cubicBezTo>
                  <a:pt x="275806" y="1265"/>
                  <a:pt x="275983" y="1117"/>
                  <a:pt x="276243" y="1005"/>
                </a:cubicBezTo>
                <a:cubicBezTo>
                  <a:pt x="276504" y="893"/>
                  <a:pt x="276848" y="800"/>
                  <a:pt x="277276" y="726"/>
                </a:cubicBezTo>
                <a:cubicBezTo>
                  <a:pt x="277704" y="651"/>
                  <a:pt x="278234" y="614"/>
                  <a:pt x="278866" y="614"/>
                </a:cubicBezTo>
                <a:close/>
                <a:moveTo>
                  <a:pt x="540041" y="335"/>
                </a:moveTo>
                <a:cubicBezTo>
                  <a:pt x="540711" y="335"/>
                  <a:pt x="541260" y="363"/>
                  <a:pt x="541688" y="419"/>
                </a:cubicBezTo>
                <a:cubicBezTo>
                  <a:pt x="542115" y="475"/>
                  <a:pt x="542450" y="568"/>
                  <a:pt x="542692" y="698"/>
                </a:cubicBezTo>
                <a:cubicBezTo>
                  <a:pt x="542934" y="828"/>
                  <a:pt x="543111" y="986"/>
                  <a:pt x="543222" y="1172"/>
                </a:cubicBezTo>
                <a:cubicBezTo>
                  <a:pt x="543334" y="1358"/>
                  <a:pt x="543390" y="1563"/>
                  <a:pt x="543390" y="1786"/>
                </a:cubicBezTo>
                <a:lnTo>
                  <a:pt x="543390" y="77019"/>
                </a:lnTo>
                <a:cubicBezTo>
                  <a:pt x="543390" y="77242"/>
                  <a:pt x="543334" y="77447"/>
                  <a:pt x="543222" y="77633"/>
                </a:cubicBezTo>
                <a:cubicBezTo>
                  <a:pt x="543111" y="77819"/>
                  <a:pt x="542934" y="77968"/>
                  <a:pt x="542692" y="78079"/>
                </a:cubicBezTo>
                <a:cubicBezTo>
                  <a:pt x="542450" y="78191"/>
                  <a:pt x="542115" y="78284"/>
                  <a:pt x="541688" y="78358"/>
                </a:cubicBezTo>
                <a:cubicBezTo>
                  <a:pt x="541260" y="78433"/>
                  <a:pt x="540711" y="78470"/>
                  <a:pt x="540041" y="78470"/>
                </a:cubicBezTo>
                <a:cubicBezTo>
                  <a:pt x="539409" y="78470"/>
                  <a:pt x="538878" y="78433"/>
                  <a:pt x="538451" y="78358"/>
                </a:cubicBezTo>
                <a:cubicBezTo>
                  <a:pt x="538023" y="78284"/>
                  <a:pt x="537679" y="78191"/>
                  <a:pt x="537418" y="78079"/>
                </a:cubicBezTo>
                <a:cubicBezTo>
                  <a:pt x="537158" y="77968"/>
                  <a:pt x="536981" y="77819"/>
                  <a:pt x="536888" y="77633"/>
                </a:cubicBezTo>
                <a:cubicBezTo>
                  <a:pt x="536795" y="77447"/>
                  <a:pt x="536748" y="77242"/>
                  <a:pt x="536748" y="77019"/>
                </a:cubicBezTo>
                <a:lnTo>
                  <a:pt x="536748" y="1786"/>
                </a:lnTo>
                <a:cubicBezTo>
                  <a:pt x="536748" y="1563"/>
                  <a:pt x="536795" y="1358"/>
                  <a:pt x="536888" y="1172"/>
                </a:cubicBezTo>
                <a:cubicBezTo>
                  <a:pt x="536981" y="986"/>
                  <a:pt x="537158" y="828"/>
                  <a:pt x="537418" y="698"/>
                </a:cubicBezTo>
                <a:cubicBezTo>
                  <a:pt x="537679" y="568"/>
                  <a:pt x="538023" y="475"/>
                  <a:pt x="538451" y="419"/>
                </a:cubicBezTo>
                <a:cubicBezTo>
                  <a:pt x="538878" y="363"/>
                  <a:pt x="539409" y="335"/>
                  <a:pt x="540041" y="335"/>
                </a:cubicBezTo>
                <a:close/>
                <a:moveTo>
                  <a:pt x="192490" y="0"/>
                </a:moveTo>
                <a:cubicBezTo>
                  <a:pt x="193755" y="0"/>
                  <a:pt x="194983" y="121"/>
                  <a:pt x="196174" y="363"/>
                </a:cubicBezTo>
                <a:cubicBezTo>
                  <a:pt x="197364" y="605"/>
                  <a:pt x="198267" y="865"/>
                  <a:pt x="198881" y="1144"/>
                </a:cubicBezTo>
                <a:cubicBezTo>
                  <a:pt x="199495" y="1424"/>
                  <a:pt x="199904" y="1665"/>
                  <a:pt x="200108" y="1870"/>
                </a:cubicBezTo>
                <a:cubicBezTo>
                  <a:pt x="200313" y="2075"/>
                  <a:pt x="200481" y="2326"/>
                  <a:pt x="200611" y="2623"/>
                </a:cubicBezTo>
                <a:cubicBezTo>
                  <a:pt x="200741" y="2921"/>
                  <a:pt x="200834" y="3265"/>
                  <a:pt x="200890" y="3656"/>
                </a:cubicBezTo>
                <a:cubicBezTo>
                  <a:pt x="200946" y="4047"/>
                  <a:pt x="200974" y="4484"/>
                  <a:pt x="200974" y="4968"/>
                </a:cubicBezTo>
                <a:cubicBezTo>
                  <a:pt x="200974" y="5488"/>
                  <a:pt x="200946" y="5907"/>
                  <a:pt x="200890" y="6223"/>
                </a:cubicBezTo>
                <a:cubicBezTo>
                  <a:pt x="200834" y="6540"/>
                  <a:pt x="200760" y="6791"/>
                  <a:pt x="200667" y="6977"/>
                </a:cubicBezTo>
                <a:cubicBezTo>
                  <a:pt x="200574" y="7163"/>
                  <a:pt x="200462" y="7293"/>
                  <a:pt x="200332" y="7367"/>
                </a:cubicBezTo>
                <a:cubicBezTo>
                  <a:pt x="200201" y="7442"/>
                  <a:pt x="200043" y="7479"/>
                  <a:pt x="199857" y="7479"/>
                </a:cubicBezTo>
                <a:cubicBezTo>
                  <a:pt x="199560" y="7479"/>
                  <a:pt x="199206" y="7386"/>
                  <a:pt x="198797" y="7200"/>
                </a:cubicBezTo>
                <a:cubicBezTo>
                  <a:pt x="198388" y="7014"/>
                  <a:pt x="197876" y="6809"/>
                  <a:pt x="197262" y="6586"/>
                </a:cubicBezTo>
                <a:cubicBezTo>
                  <a:pt x="196648" y="6363"/>
                  <a:pt x="195923" y="6158"/>
                  <a:pt x="195085" y="5972"/>
                </a:cubicBezTo>
                <a:cubicBezTo>
                  <a:pt x="194248" y="5786"/>
                  <a:pt x="193272" y="5693"/>
                  <a:pt x="192155" y="5693"/>
                </a:cubicBezTo>
                <a:cubicBezTo>
                  <a:pt x="190593" y="5693"/>
                  <a:pt x="189272" y="5944"/>
                  <a:pt x="188193" y="6446"/>
                </a:cubicBezTo>
                <a:cubicBezTo>
                  <a:pt x="187114" y="6949"/>
                  <a:pt x="186240" y="7749"/>
                  <a:pt x="185570" y="8846"/>
                </a:cubicBezTo>
                <a:cubicBezTo>
                  <a:pt x="184900" y="9944"/>
                  <a:pt x="184426" y="11358"/>
                  <a:pt x="184147" y="13088"/>
                </a:cubicBezTo>
                <a:cubicBezTo>
                  <a:pt x="183868" y="14818"/>
                  <a:pt x="183728" y="16911"/>
                  <a:pt x="183728" y="19367"/>
                </a:cubicBezTo>
                <a:lnTo>
                  <a:pt x="183728" y="25338"/>
                </a:lnTo>
                <a:lnTo>
                  <a:pt x="196118" y="25338"/>
                </a:lnTo>
                <a:cubicBezTo>
                  <a:pt x="196378" y="25338"/>
                  <a:pt x="196602" y="25394"/>
                  <a:pt x="196788" y="25506"/>
                </a:cubicBezTo>
                <a:cubicBezTo>
                  <a:pt x="196974" y="25617"/>
                  <a:pt x="197141" y="25794"/>
                  <a:pt x="197290" y="26036"/>
                </a:cubicBezTo>
                <a:cubicBezTo>
                  <a:pt x="197439" y="26278"/>
                  <a:pt x="197550" y="26575"/>
                  <a:pt x="197625" y="26929"/>
                </a:cubicBezTo>
                <a:cubicBezTo>
                  <a:pt x="197699" y="27282"/>
                  <a:pt x="197737" y="27701"/>
                  <a:pt x="197737" y="28185"/>
                </a:cubicBezTo>
                <a:cubicBezTo>
                  <a:pt x="197737" y="29115"/>
                  <a:pt x="197588" y="29812"/>
                  <a:pt x="197290" y="30278"/>
                </a:cubicBezTo>
                <a:cubicBezTo>
                  <a:pt x="196992" y="30743"/>
                  <a:pt x="196602" y="30975"/>
                  <a:pt x="196118" y="30975"/>
                </a:cubicBezTo>
                <a:lnTo>
                  <a:pt x="183728" y="30975"/>
                </a:lnTo>
                <a:lnTo>
                  <a:pt x="183728" y="77019"/>
                </a:lnTo>
                <a:cubicBezTo>
                  <a:pt x="183728" y="77242"/>
                  <a:pt x="183672" y="77447"/>
                  <a:pt x="183561" y="77633"/>
                </a:cubicBezTo>
                <a:cubicBezTo>
                  <a:pt x="183449" y="77819"/>
                  <a:pt x="183272" y="77968"/>
                  <a:pt x="183030" y="78079"/>
                </a:cubicBezTo>
                <a:cubicBezTo>
                  <a:pt x="182789" y="78191"/>
                  <a:pt x="182444" y="78284"/>
                  <a:pt x="181998" y="78358"/>
                </a:cubicBezTo>
                <a:cubicBezTo>
                  <a:pt x="181551" y="78433"/>
                  <a:pt x="181012" y="78470"/>
                  <a:pt x="180379" y="78470"/>
                </a:cubicBezTo>
                <a:cubicBezTo>
                  <a:pt x="179747" y="78470"/>
                  <a:pt x="179217" y="78433"/>
                  <a:pt x="178789" y="78358"/>
                </a:cubicBezTo>
                <a:cubicBezTo>
                  <a:pt x="178361" y="78284"/>
                  <a:pt x="178017" y="78191"/>
                  <a:pt x="177756" y="78079"/>
                </a:cubicBezTo>
                <a:cubicBezTo>
                  <a:pt x="177496" y="77968"/>
                  <a:pt x="177319" y="77819"/>
                  <a:pt x="177226" y="77633"/>
                </a:cubicBezTo>
                <a:cubicBezTo>
                  <a:pt x="177133" y="77447"/>
                  <a:pt x="177087" y="77242"/>
                  <a:pt x="177087" y="77019"/>
                </a:cubicBezTo>
                <a:lnTo>
                  <a:pt x="177087" y="30975"/>
                </a:lnTo>
                <a:lnTo>
                  <a:pt x="169496" y="30975"/>
                </a:lnTo>
                <a:cubicBezTo>
                  <a:pt x="168975" y="30975"/>
                  <a:pt x="168575" y="30743"/>
                  <a:pt x="168296" y="30278"/>
                </a:cubicBezTo>
                <a:cubicBezTo>
                  <a:pt x="168017" y="29812"/>
                  <a:pt x="167878" y="29115"/>
                  <a:pt x="167878" y="28185"/>
                </a:cubicBezTo>
                <a:cubicBezTo>
                  <a:pt x="167878" y="27701"/>
                  <a:pt x="167915" y="27282"/>
                  <a:pt x="167989" y="26929"/>
                </a:cubicBezTo>
                <a:cubicBezTo>
                  <a:pt x="168064" y="26575"/>
                  <a:pt x="168166" y="26278"/>
                  <a:pt x="168296" y="26036"/>
                </a:cubicBezTo>
                <a:cubicBezTo>
                  <a:pt x="168427" y="25794"/>
                  <a:pt x="168594" y="25617"/>
                  <a:pt x="168799" y="25506"/>
                </a:cubicBezTo>
                <a:cubicBezTo>
                  <a:pt x="169003" y="25394"/>
                  <a:pt x="169236" y="25338"/>
                  <a:pt x="169496" y="25338"/>
                </a:cubicBezTo>
                <a:lnTo>
                  <a:pt x="177087" y="25338"/>
                </a:lnTo>
                <a:lnTo>
                  <a:pt x="177087" y="19590"/>
                </a:lnTo>
                <a:cubicBezTo>
                  <a:pt x="177087" y="16055"/>
                  <a:pt x="177403" y="13041"/>
                  <a:pt x="178035" y="10549"/>
                </a:cubicBezTo>
                <a:cubicBezTo>
                  <a:pt x="178668" y="8056"/>
                  <a:pt x="179626" y="6028"/>
                  <a:pt x="180910" y="4465"/>
                </a:cubicBezTo>
                <a:cubicBezTo>
                  <a:pt x="182193" y="2903"/>
                  <a:pt x="183803" y="1768"/>
                  <a:pt x="185737" y="1061"/>
                </a:cubicBezTo>
                <a:cubicBezTo>
                  <a:pt x="187672" y="354"/>
                  <a:pt x="189923" y="0"/>
                  <a:pt x="19249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9363BDE-7807-4A65-BC39-38166DDE099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46B84FE-7DB5-4B4A-8F90-7D690B0D20BE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02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F64E8016-1BE0-4F48-B51C-E5159C349E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6E0262-1052-7140-AA3D-937F1AD7FE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13" name="Pladsholder til tekst 7">
            <a:extLst>
              <a:ext uri="{FF2B5EF4-FFF2-40B4-BE49-F238E27FC236}">
                <a16:creationId xmlns:a16="http://schemas.microsoft.com/office/drawing/2014/main" id="{F8482ACD-6EE5-8949-92BF-2F3E936B89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E94A29E-5C0F-4A89-A02A-F7A8C6460AA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2BCFD4F5-0E3E-429B-843E-5D52172C845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EEFF4CE9-47E8-42F8-A32E-BD116637C9B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0A510951-11BE-449C-9A1A-0AFBCDCC22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602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FC3A4E5-D727-9C45-ABDE-C7DE64355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732B07F-2CC5-4AFD-AEB0-06354073000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1D955B9B-79CF-453B-B627-8C3DAEB1C656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F5B6785-6D72-4FCB-9B42-6D7D4CE6552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25519D16-C87C-4DB7-8AC8-CE4560100AA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964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23C2C5DF-AF86-5B44-B421-95D2B8298C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4B619AC-2DE8-F349-916D-5357F86AA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A673C237-CE7A-7440-B18F-ABE4D42F8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5B924BB-E5D3-43CA-A78D-29CF9EFD6A0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62A5D596-BFFC-49C9-94FE-588255481AC4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789D15EF-7698-4AF7-BAA7-70B9DBD7761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2781A8B2-3093-402D-A7CD-2438F12EDBC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7587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FC3A4E5-D727-9C45-ABDE-C7DE64355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30EFEB1-E812-4EF0-BFCA-7E187C86FD6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E9ED68DE-0121-45B4-9B52-D5CB9A46CD5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9361BBCC-99D7-474F-AFA2-64B3DECBE0A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1448F9-7B30-48EC-8508-43380395A8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8454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8E672BA-F765-2843-9380-B4FA84CEB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4A14179-EF6D-453D-9921-3CF9EAC9F48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A5A8416-90A9-4E1F-92DE-9369E46B77A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9C136CFD-5795-4CDA-8F35-F01AB1A6B3B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DC974D2-3969-4F27-AEAE-FE624B7DCE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5787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493BED7A-1F77-5F4F-BB15-69C469BCB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F0EDFF4-97A2-48B6-8315-27A3EE658EE9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C1E236AA-2EBE-4876-A95F-489700624D8F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BC19D892-5E12-49B7-9754-5067E244FC8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93D1BF69-5360-4DAE-AC22-21B77161A41E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2927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477443-7C71-1B46-98BA-149F04FD4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3969F41-A5CE-4FF5-9485-925E2593C671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AA667EF2-549B-485C-B154-830625688DB3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41124061-9B80-467F-9373-FFAD6BCE09A9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828FBD1D-075C-440B-89D5-B138A6F544A1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4153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1">
            <a:extLst>
              <a:ext uri="{FF2B5EF4-FFF2-40B4-BE49-F238E27FC236}">
                <a16:creationId xmlns:a16="http://schemas.microsoft.com/office/drawing/2014/main" id="{D80C3370-0C4D-224E-8F4A-ADE76E78B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1EA4DDCD-C039-9542-B93C-9129BE80F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7" name="Pladsholder til tekst 7">
            <a:extLst>
              <a:ext uri="{FF2B5EF4-FFF2-40B4-BE49-F238E27FC236}">
                <a16:creationId xmlns:a16="http://schemas.microsoft.com/office/drawing/2014/main" id="{CCC063DB-84BB-8340-B548-CD048E69FA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1D0F76A3-BF51-4CD8-AD94-B8C4E40B991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A7064A3B-22F1-4362-99C6-760077CBD6C8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F83861B-6F70-4A7F-87AB-DC98CC63383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24CAF8A-65A2-48AD-A222-869151E227E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06B34D8-89BC-4660-B24D-8F679691208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6" name="Pladsholder til billede 7">
            <a:extLst>
              <a:ext uri="{FF2B5EF4-FFF2-40B4-BE49-F238E27FC236}">
                <a16:creationId xmlns:a16="http://schemas.microsoft.com/office/drawing/2014/main" id="{FD441288-6EFD-6A74-E30C-BF22D4D5DFE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355925" y="4761088"/>
            <a:ext cx="543600" cy="79200"/>
          </a:xfrm>
          <a:blipFill>
            <a:blip r:embed="rId5">
              <a:lum bright="100000"/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6153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FC999B1-AF16-8D46-B3F0-7946702FA6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 dirty="0"/>
              <a:t>A great headline can be added here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2030920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6464A6D4-23E7-164C-AE57-9B41919BC9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DC8BDAC4-C8C4-B344-9655-88067569C5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91FFF49-E4FD-4275-A119-3E26BC5C946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9D28CB91-A893-4E0E-A79D-2B32FCD51494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17202A0-A76D-48D9-8268-F7753773BEB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B1A9D46-A8AA-4C3A-BE85-014C11A731E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871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7AC66C80-467F-514B-8C33-922453CBA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6C689FAB-8E3B-1445-95F8-1CE8A7E9D3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FA40D9F-C4D6-374B-9003-6B7D9DBD85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C82B05D-714E-4D54-B913-51E0A36027F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559A7FB1-8411-4F6A-9D26-64621736F81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BC75513-9EFA-4D4C-83C8-09649B5F56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78C2B85-6F06-4C0D-B6FF-E0C27402C18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7253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122" y="79219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7D6D5E8-3155-4001-9A21-436A146661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2122" y="1164511"/>
            <a:ext cx="3944948" cy="324706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23FDE112-DC63-45F0-8D13-80A3A297284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3418EDCF-EFF1-4A91-8C93-6CDC802F84D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7E3D385E-6225-4A3B-B0F4-2C928AB7EFD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8B5D44E-1740-459A-8704-6D769B0B246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648902D5-93F0-4B30-8E9F-EF16278F578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74F06928-079A-85D1-206E-FFAC7E653BEC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355925" y="4761088"/>
            <a:ext cx="543600" cy="79200"/>
          </a:xfrm>
          <a:blipFill>
            <a:blip r:embed="rId3">
              <a:lum bright="100000"/>
            </a:blip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00382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8E672BA-F765-2843-9380-B4FA84CEB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C0F41F2-36E9-49C8-88CE-4BE4E31BBD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B064D111-E763-4E08-AD44-044DE2DBD85F}" type="datetime1">
              <a:rPr lang="en-US" smtClean="0"/>
              <a:t>10/15/2024</a:t>
            </a:fld>
            <a:endParaRPr lang="en-US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B9982329-2D94-4C9E-80A2-B60425FE5B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EC480CA5-4037-4930-ACEF-576310198A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12742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8" name="Titel 13">
            <a:extLst>
              <a:ext uri="{FF2B5EF4-FFF2-40B4-BE49-F238E27FC236}">
                <a16:creationId xmlns:a16="http://schemas.microsoft.com/office/drawing/2014/main" id="{91F5DAC1-AB24-2C49-A83F-B1A3097D1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A6BAFAAD-1A3D-B24E-B7B4-1DFA22EB11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64FFAF3-FE87-440C-9769-679D38FCC7C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CC84E22E-98ED-402B-A6DF-8197208FBCAD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103D15C7-0B10-4E74-A769-07D32FA17A7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433E9D5-D15D-49C1-B7EC-FC8C4088E7E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39836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C9F703F9-CB20-7048-82DF-A6459D38E6E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21B9330A-C609-B445-90EC-51073B5B2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8C005136-0577-CD42-8444-07F3E7349D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07552B5-9CE3-4BE6-8905-86B2FAC5FA9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11605E26-32CE-4F34-9CA9-38C479B682F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E22D60F-5347-4DC5-AB49-E8214744B70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03D4F3E-8823-4AFD-9861-09A4DC204E2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629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95B36680-5E91-274A-9D48-31A154556F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64473AB1-2F59-7144-ADDB-30154BDC47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0359CBE8-76CD-7A44-BD26-7423FF90B8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8F9432F-02BA-4C12-A1FD-D9D1BF8D96E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3A3665A1-CE9F-46FB-A86B-4A7D85B8E21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9C0CFE0-74EF-48AB-81D2-3993A081662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1F28AC6-FBE2-4B19-A687-A16008C534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8818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13840727-5A98-F243-A7A4-E83A37178D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0">
            <a:extLst>
              <a:ext uri="{FF2B5EF4-FFF2-40B4-BE49-F238E27FC236}">
                <a16:creationId xmlns:a16="http://schemas.microsoft.com/office/drawing/2014/main" id="{B78A1075-47B3-874C-B351-BE5817168E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567A5C47-9281-F14C-BFE0-E3C1C4638F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3944949" cy="329519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640C959-0D42-F246-83B4-532651C77B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5747" y="1008000"/>
            <a:ext cx="4147426" cy="329519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F8CFCFA-F5C2-4BA7-992D-714826C968F7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r"/>
            <a:fld id="{812DA936-68A2-4D68-9A0C-5FE35CA91B0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3C549CA-9125-42E6-ABBF-593AF3714A4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C3F8545-3E2C-44F9-BFDD-7D61B511507F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5333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F4040793-5111-EB47-9045-AD382FC9AA0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47359" y="2065691"/>
            <a:ext cx="4045816" cy="2423935"/>
          </a:xfrm>
          <a:solidFill>
            <a:srgbClr val="A6A6A6"/>
          </a:solidFill>
        </p:spPr>
        <p:txBody>
          <a:bodyPr/>
          <a:lstStyle>
            <a:lvl1pPr rtl="0"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9664BC7B-F703-2F46-BDB9-3FDA8D1C0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655CB392-0E08-AA42-8D93-F4A63C8CD2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540000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E8094319-BE67-6D4D-A601-C06512E93D6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065691"/>
            <a:ext cx="4086226" cy="2423935"/>
          </a:xfr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F12D74E8-C226-AB42-A1E6-4D7B458E2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4" cy="372314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7A78CE56-247C-D940-A775-3A43EA3EF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1008000"/>
            <a:ext cx="4147427" cy="372314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3388038-4DBD-4EBE-94C8-9182E2D4222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6C25B3C2-1AE0-4DDA-884C-F71ED799718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E617BD3-1CCC-4270-B500-3270AF9DE4E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E562C21-231F-4ED5-8E8C-3871FBA868A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82965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 and image over u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D20AE002-BDC6-5341-AD72-867812F55B4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835444" y="705421"/>
            <a:ext cx="4057731" cy="2371318"/>
          </a:xfrm>
          <a:solidFill>
            <a:srgbClr val="A6A6A6"/>
          </a:solidFill>
        </p:spPr>
        <p:txBody>
          <a:bodyPr/>
          <a:lstStyle>
            <a:lvl1pPr marL="0" indent="0" rtl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Titel 13">
            <a:extLst>
              <a:ext uri="{FF2B5EF4-FFF2-40B4-BE49-F238E27FC236}">
                <a16:creationId xmlns:a16="http://schemas.microsoft.com/office/drawing/2014/main" id="{13D1A9BE-FD86-2447-B7C3-EE8257BAEA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4172033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6" name="Pladsholder til tekst 20">
            <a:extLst>
              <a:ext uri="{FF2B5EF4-FFF2-40B4-BE49-F238E27FC236}">
                <a16:creationId xmlns:a16="http://schemas.microsoft.com/office/drawing/2014/main" id="{083A1E10-D37A-5A43-9618-8633FCF4B9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45748" y="3184376"/>
            <a:ext cx="4147427" cy="372314"/>
          </a:xfrm>
        </p:spPr>
        <p:txBody>
          <a:bodyPr>
            <a:noAutofit/>
          </a:bodyPr>
          <a:lstStyle>
            <a:lvl1pPr marL="0" indent="0">
              <a:buNone/>
              <a:defRPr lang="da-DK" sz="2600" b="0" i="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342900" lvl="0" indent="-342900" algn="l" defTabSz="457200" rtl="0" eaLnBrk="1" latinLnBrk="0" hangingPunct="1">
              <a:lnSpc>
                <a:spcPct val="85000"/>
              </a:lnSpc>
              <a:spcBef>
                <a:spcPct val="0"/>
              </a:spcBef>
            </a:pPr>
            <a:r>
              <a:rPr lang="en-US" noProof="0" dirty="0"/>
              <a:t>Headline</a:t>
            </a:r>
          </a:p>
        </p:txBody>
      </p:sp>
      <p:sp>
        <p:nvSpPr>
          <p:cNvPr id="18" name="Pladsholder til billede 2">
            <a:extLst>
              <a:ext uri="{FF2B5EF4-FFF2-40B4-BE49-F238E27FC236}">
                <a16:creationId xmlns:a16="http://schemas.microsoft.com/office/drawing/2014/main" id="{B523A8E2-B4BE-8847-8E48-4F2D26F928F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24717" y="2118308"/>
            <a:ext cx="4086226" cy="2371318"/>
          </a:xfr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9" name="Pladsholder til tekst 2">
            <a:extLst>
              <a:ext uri="{FF2B5EF4-FFF2-40B4-BE49-F238E27FC236}">
                <a16:creationId xmlns:a16="http://schemas.microsoft.com/office/drawing/2014/main" id="{461D0C80-AF59-1D4A-AE3D-97FA6FC7D17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09" y="1008000"/>
            <a:ext cx="4172033" cy="36463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0D944F9D-D1CF-8C47-B3D0-7A553074CD9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5748" y="3629322"/>
            <a:ext cx="4147427" cy="36463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7BE07CB-1D8B-48CD-9E08-3091582CDD21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r"/>
            <a:fld id="{9B7F868C-9C58-4C78-9C6F-940B83712222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8798BB7-80B4-4E36-9975-A7B4F556493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0DC09F3-7ED9-4354-B79B-8D12C533869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0433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2">
            <a:extLst>
              <a:ext uri="{FF2B5EF4-FFF2-40B4-BE49-F238E27FC236}">
                <a16:creationId xmlns:a16="http://schemas.microsoft.com/office/drawing/2014/main" id="{3C1D9266-281C-9741-B384-635476C237C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24742" y="1219200"/>
            <a:ext cx="4932027" cy="3185442"/>
          </a:xfr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9978D278-D7AF-7345-9F80-CEF445A243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C5801F0-C51F-475C-8301-C2F2E904D1D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10526CC-0F1F-4BAA-8467-95A879D0045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6C95F15-272E-4645-9888-15383DBC89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9431615-4BE8-4968-A4A9-C53A9C93A3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7458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E5FE33E-5D95-1744-B094-A3C28B77B3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3" name="Pladsholder til tekst 27">
            <a:extLst>
              <a:ext uri="{FF2B5EF4-FFF2-40B4-BE49-F238E27FC236}">
                <a16:creationId xmlns:a16="http://schemas.microsoft.com/office/drawing/2014/main" id="{65594A2E-4492-344A-8B40-1BFBD5861B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19920D9A-01C5-9D48-A8AC-0D83777D7E68}"/>
              </a:ext>
            </a:extLst>
          </p:cNvPr>
          <p:cNvSpPr/>
          <p:nvPr userDrawn="1"/>
        </p:nvSpPr>
        <p:spPr>
          <a:xfrm>
            <a:off x="347783" y="1558744"/>
            <a:ext cx="8557308" cy="2731902"/>
          </a:xfrm>
          <a:prstGeom prst="roundRect">
            <a:avLst>
              <a:gd name="adj" fmla="val 0"/>
            </a:avLst>
          </a:prstGeom>
          <a:solidFill>
            <a:srgbClr val="EAEB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17E224C9-5CE7-684A-83B1-67B1B13A8C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7998" y="1676596"/>
            <a:ext cx="8328217" cy="24737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D31F4DB-EBB6-44BA-977C-C7EEE397B64B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r"/>
            <a:fld id="{A02554CB-FFE3-4C33-B466-5C03F00CAAE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0F7DC24-FDB7-4220-84A3-98F50685FA4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BE715A4-83CE-4725-B547-941D979C8AD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7594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3">
            <a:extLst>
              <a:ext uri="{FF2B5EF4-FFF2-40B4-BE49-F238E27FC236}">
                <a16:creationId xmlns:a16="http://schemas.microsoft.com/office/drawing/2014/main" id="{2BE9B87B-3D0F-EB4C-AAC7-523D3ED9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20" name="Pladsholder til tekst 2">
            <a:extLst>
              <a:ext uri="{FF2B5EF4-FFF2-40B4-BE49-F238E27FC236}">
                <a16:creationId xmlns:a16="http://schemas.microsoft.com/office/drawing/2014/main" id="{9C81AE8B-1051-FA49-87F3-C81703A43AD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38910" y="1008000"/>
            <a:ext cx="8654264" cy="372314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B4A8AD40-8520-E64E-A83D-F022061EC1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943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EC671F12-627B-E047-8F22-DBBB1B94FF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2829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853AE98-81A7-A043-B583-8B245F2FBA6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3179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012CEB01-DDA8-E247-BB70-392096C112F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8467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846DC352-C023-D446-8558-E3BF7A03A3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22340" y="2103594"/>
            <a:ext cx="2667953" cy="2402075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EA9F7CF8-A7C8-9D47-9393-62BC562BC1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75226" y="2567246"/>
            <a:ext cx="2415067" cy="1938423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3322C8D-1D8D-4836-AF89-444C81921073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pPr algn="r"/>
            <a:fld id="{CB17A3D1-2CD5-4914-957A-06186B6470C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12F6B770-5849-4DAD-93F2-99C066C8E73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0730C63-DD59-4B84-9DCC-07273A3DEFA1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8116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3">
            <a:extLst>
              <a:ext uri="{FF2B5EF4-FFF2-40B4-BE49-F238E27FC236}">
                <a16:creationId xmlns:a16="http://schemas.microsoft.com/office/drawing/2014/main" id="{83FCA6A4-DB3F-7F4F-97E8-5634974F98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8" name="Pladsholder til tekst 2">
            <a:extLst>
              <a:ext uri="{FF2B5EF4-FFF2-40B4-BE49-F238E27FC236}">
                <a16:creationId xmlns:a16="http://schemas.microsoft.com/office/drawing/2014/main" id="{7D1939A8-2910-5F42-BEF6-2C5201319B1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38910" y="1008000"/>
            <a:ext cx="8654264" cy="372314"/>
          </a:xfrm>
        </p:spPr>
        <p:txBody>
          <a:bodyPr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8CE04D4D-C9C6-2148-B203-EC00436BF5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5364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3" name="Text Placeholder 23">
            <a:extLst>
              <a:ext uri="{FF2B5EF4-FFF2-40B4-BE49-F238E27FC236}">
                <a16:creationId xmlns:a16="http://schemas.microsoft.com/office/drawing/2014/main" id="{5BC8C7DC-183B-F948-8DFC-18F5BDF412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78250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8B311A97-AFAA-0944-8898-DD66BA79AD7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78483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C7D727AD-4097-6B4B-B384-5E9DBB98CD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31369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3D8D3E50-BE36-1345-A617-85D917747F7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31602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D74B9FDE-1980-C54D-BD25-CB7063F269C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884488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D0BAD3F2-6CBD-C24A-8E07-02832A22127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784721" y="2027789"/>
            <a:ext cx="1964531" cy="2477882"/>
          </a:xfrm>
          <a:solidFill>
            <a:srgbClr val="EAEBEB"/>
          </a:solidFill>
        </p:spPr>
        <p:txBody>
          <a:bodyPr lIns="180000" tIns="144000">
            <a:normAutofit/>
          </a:bodyPr>
          <a:lstStyle>
            <a:lvl1pPr>
              <a:defRPr sz="1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Headline</a:t>
            </a:r>
            <a:endParaRPr lang="en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6DE4142-0963-3F43-8AB2-B86DC375F28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37607" y="2491441"/>
            <a:ext cx="1711645" cy="2014230"/>
          </a:xfrm>
        </p:spPr>
        <p:txBody>
          <a:bodyPr/>
          <a:lstStyle>
            <a:lvl1pPr marL="179388" marR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marR="0" lvl="0" indent="-176213" algn="l" defTabSz="457200" rtl="0" eaLnBrk="1" fontAlgn="auto" latinLnBrk="0" hangingPunct="1">
              <a:lnSpc>
                <a:spcPts val="17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DK" sz="1300" dirty="0"/>
              <a:t>Ad text here</a:t>
            </a:r>
          </a:p>
          <a:p>
            <a:pPr marL="179388" indent="-176213">
              <a:lnSpc>
                <a:spcPts val="1760"/>
              </a:lnSpc>
              <a:buFont typeface="Arial" panose="020B0604020202020204" pitchFamily="34" charset="0"/>
              <a:buChar char="•"/>
              <a:tabLst/>
            </a:pPr>
            <a:endParaRPr lang="en-DK" sz="130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A51D810-7105-401A-A8A5-BFE05B525480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0EC3BCC7-A7A8-4B98-ADCE-CFE3B46AD414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548644C-31BE-475E-8076-A3638176071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8573B46-244D-4104-8DD6-3DC3855F138E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962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493BED7A-1F77-5F4F-BB15-69C469BCB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4FAE49FF-242A-45A3-AF50-4663D88949EC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85C2117F-D475-476A-8D4F-96016FED1B65}" type="datetime1">
              <a:rPr lang="en-US" smtClean="0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46AD78E1-3FC2-49B9-BC0F-3A87D92F9A73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8E67BCE4-3E9C-4177-9FDB-506EA4404C10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99063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dsholder til tekst 16">
            <a:extLst>
              <a:ext uri="{FF2B5EF4-FFF2-40B4-BE49-F238E27FC236}">
                <a16:creationId xmlns:a16="http://schemas.microsoft.com/office/drawing/2014/main" id="{7E5F2081-92B1-4B47-91B9-2B16F41A198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850" y="278125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7" name="Pladsholder til tekst 16">
            <a:extLst>
              <a:ext uri="{FF2B5EF4-FFF2-40B4-BE49-F238E27FC236}">
                <a16:creationId xmlns:a16="http://schemas.microsoft.com/office/drawing/2014/main" id="{F0DDCFAC-4E91-0643-B4CB-899A9376B2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92712" y="277644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8" name="Pladsholder til tekst 16">
            <a:extLst>
              <a:ext uri="{FF2B5EF4-FFF2-40B4-BE49-F238E27FC236}">
                <a16:creationId xmlns:a16="http://schemas.microsoft.com/office/drawing/2014/main" id="{C95831F7-F962-BB48-AB29-07B62DEC8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61574" y="277162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29" name="Pladsholder til tekst 16">
            <a:extLst>
              <a:ext uri="{FF2B5EF4-FFF2-40B4-BE49-F238E27FC236}">
                <a16:creationId xmlns:a16="http://schemas.microsoft.com/office/drawing/2014/main" id="{782F9D1F-D96D-A04B-9CF9-E080E67448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30436" y="2766812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30" name="Pladsholder til tekst 16">
            <a:extLst>
              <a:ext uri="{FF2B5EF4-FFF2-40B4-BE49-F238E27FC236}">
                <a16:creationId xmlns:a16="http://schemas.microsoft.com/office/drawing/2014/main" id="{76220C3A-364F-7649-A087-721169548C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99299" y="2761997"/>
            <a:ext cx="1530349" cy="1767208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15200" tIns="129600">
            <a:noAutofit/>
          </a:bodyPr>
          <a:lstStyle>
            <a:lvl1pPr marL="0" algn="l" defTabSz="457200" rtl="0" eaLnBrk="1" latinLnBrk="0" hangingPunct="1">
              <a:defRPr lang="en-US" sz="975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975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</a:lstStyle>
          <a:p>
            <a:r>
              <a:rPr lang="en-US" sz="975" dirty="0">
                <a:latin typeface="+mj-lt"/>
              </a:rPr>
              <a:t>Text can be added here</a:t>
            </a:r>
          </a:p>
        </p:txBody>
      </p:sp>
      <p:sp>
        <p:nvSpPr>
          <p:cNvPr id="31" name="Titel 13">
            <a:extLst>
              <a:ext uri="{FF2B5EF4-FFF2-40B4-BE49-F238E27FC236}">
                <a16:creationId xmlns:a16="http://schemas.microsoft.com/office/drawing/2014/main" id="{45238F6A-52C8-974F-B17F-8101295EBB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36" name="Pladsholder til tekst 2">
            <a:extLst>
              <a:ext uri="{FF2B5EF4-FFF2-40B4-BE49-F238E27FC236}">
                <a16:creationId xmlns:a16="http://schemas.microsoft.com/office/drawing/2014/main" id="{2FBCC375-06A0-1A46-A8BA-A4A330C79C0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8909" y="1008000"/>
            <a:ext cx="8666182" cy="371982"/>
          </a:xfrm>
        </p:spPr>
        <p:txBody>
          <a:bodyPr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17" name="Pladsholder til tekst 34">
            <a:extLst>
              <a:ext uri="{FF2B5EF4-FFF2-40B4-BE49-F238E27FC236}">
                <a16:creationId xmlns:a16="http://schemas.microsoft.com/office/drawing/2014/main" id="{0FA114B7-BA2C-874C-BF61-7EF1BCB5B4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355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009CA6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8" name="Pladsholder til tekst 35">
            <a:extLst>
              <a:ext uri="{FF2B5EF4-FFF2-40B4-BE49-F238E27FC236}">
                <a16:creationId xmlns:a16="http://schemas.microsoft.com/office/drawing/2014/main" id="{80219AD4-37E4-AA48-AC90-15FAEFEDAB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92712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1AA6AF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19" name="Pladsholder til tekst 36">
            <a:extLst>
              <a:ext uri="{FF2B5EF4-FFF2-40B4-BE49-F238E27FC236}">
                <a16:creationId xmlns:a16="http://schemas.microsoft.com/office/drawing/2014/main" id="{BEC945BE-601E-574C-B036-7F2D536C0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61574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33B0B8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0" name="Pladsholder til tekst 37">
            <a:extLst>
              <a:ext uri="{FF2B5EF4-FFF2-40B4-BE49-F238E27FC236}">
                <a16:creationId xmlns:a16="http://schemas.microsoft.com/office/drawing/2014/main" id="{1B0B12A6-5E9F-5240-9B4E-702B61966C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30436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4DBAC1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marR="0" indent="0" algn="ctr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1" name="Pladsholder til tekst 38">
            <a:extLst>
              <a:ext uri="{FF2B5EF4-FFF2-40B4-BE49-F238E27FC236}">
                <a16:creationId xmlns:a16="http://schemas.microsoft.com/office/drawing/2014/main" id="{96DF8CAE-DFEE-E94A-BDF1-E701975A432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9299" y="2003989"/>
            <a:ext cx="1858403" cy="619200"/>
          </a:xfrm>
          <a:custGeom>
            <a:avLst/>
            <a:gdLst>
              <a:gd name="connsiteX0" fmla="*/ 0 w 1858403"/>
              <a:gd name="connsiteY0" fmla="*/ 0 h 619200"/>
              <a:gd name="connsiteX1" fmla="*/ 1548599 w 1858403"/>
              <a:gd name="connsiteY1" fmla="*/ 0 h 619200"/>
              <a:gd name="connsiteX2" fmla="*/ 1858403 w 1858403"/>
              <a:gd name="connsiteY2" fmla="*/ 309804 h 619200"/>
              <a:gd name="connsiteX3" fmla="*/ 1549007 w 1858403"/>
              <a:gd name="connsiteY3" fmla="*/ 619200 h 619200"/>
              <a:gd name="connsiteX4" fmla="*/ 407 w 1858403"/>
              <a:gd name="connsiteY4" fmla="*/ 619200 h 619200"/>
              <a:gd name="connsiteX5" fmla="*/ 309803 w 1858403"/>
              <a:gd name="connsiteY5" fmla="*/ 309804 h 619200"/>
              <a:gd name="connsiteX6" fmla="*/ 0 w 1858403"/>
              <a:gd name="connsiteY6" fmla="*/ 1 h 6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8403" h="619200">
                <a:moveTo>
                  <a:pt x="0" y="0"/>
                </a:moveTo>
                <a:lnTo>
                  <a:pt x="1548599" y="0"/>
                </a:lnTo>
                <a:lnTo>
                  <a:pt x="1858403" y="309804"/>
                </a:lnTo>
                <a:lnTo>
                  <a:pt x="1549007" y="619200"/>
                </a:lnTo>
                <a:lnTo>
                  <a:pt x="407" y="619200"/>
                </a:lnTo>
                <a:lnTo>
                  <a:pt x="309803" y="309804"/>
                </a:lnTo>
                <a:lnTo>
                  <a:pt x="0" y="1"/>
                </a:lnTo>
                <a:close/>
              </a:path>
            </a:pathLst>
          </a:custGeom>
          <a:solidFill>
            <a:srgbClr val="66C4CA"/>
          </a:solidFill>
        </p:spPr>
        <p:txBody>
          <a:bodyPr wrap="square" anchor="ctr" anchorCtr="0">
            <a:noAutofit/>
          </a:bodyPr>
          <a:lstStyle>
            <a:lvl1pPr algn="ctr">
              <a:defRPr lang="da-DK" sz="1300" b="1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 marL="268287" indent="0" algn="ctr">
              <a:buFontTx/>
              <a:buNone/>
              <a:defRPr lang="da-DK" sz="1000" b="0" kern="1200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2pPr>
          </a:lstStyle>
          <a:p>
            <a:pPr lvl="0"/>
            <a:r>
              <a:rPr lang="da-DK" dirty="0" err="1"/>
              <a:t>Theme</a:t>
            </a:r>
            <a:endParaRPr lang="da-DK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B75676C8-0E95-4F82-83EB-4A2C1BE38621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r"/>
            <a:fld id="{D6E335CF-C190-4196-B705-8C1A0688C998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386061D-B68E-4A1D-A3C0-C8E29136413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DEC271D-A398-4BDB-B413-C8CE96736F5E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9980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2CA25681-2B18-9F48-A280-E7FB3C178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154" y="3051565"/>
            <a:ext cx="10892552" cy="34289"/>
          </a:xfrm>
          <a:prstGeom prst="rect">
            <a:avLst/>
          </a:prstGeo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DF83AF11-A045-F14C-9497-AD61EDB02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Thank you for listening</a:t>
            </a:r>
          </a:p>
        </p:txBody>
      </p:sp>
      <p:sp>
        <p:nvSpPr>
          <p:cNvPr id="15" name="Pladsholder til tekst 16">
            <a:extLst>
              <a:ext uri="{FF2B5EF4-FFF2-40B4-BE49-F238E27FC236}">
                <a16:creationId xmlns:a16="http://schemas.microsoft.com/office/drawing/2014/main" id="{50AD1671-BAD9-C744-870F-E65FA9FA391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en-US" sz="10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6" name="Pladsholder til billede 2">
            <a:extLst>
              <a:ext uri="{FF2B5EF4-FFF2-40B4-BE49-F238E27FC236}">
                <a16:creationId xmlns:a16="http://schemas.microsoft.com/office/drawing/2014/main" id="{BA1B949A-FA55-DD4A-8DA6-DC9DFDDC624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solidFill>
            <a:srgbClr val="A6A6A6"/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1200"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8E30443-D719-4BCA-AE5E-3E212CC9289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7E1DC4A8-00A4-4731-9207-823C564BB92D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3D66AF7-BBCD-4F78-99E4-CCECFD07C52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C56345E-701C-45CB-A285-05E92DC1035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370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>
            <a:extLst>
              <a:ext uri="{FF2B5EF4-FFF2-40B4-BE49-F238E27FC236}">
                <a16:creationId xmlns:a16="http://schemas.microsoft.com/office/drawing/2014/main" id="{C1AB00F1-655E-469D-AC4C-0406C0F67BBF}"/>
              </a:ext>
            </a:extLst>
          </p:cNvPr>
          <p:cNvSpPr/>
          <p:nvPr userDrawn="1"/>
        </p:nvSpPr>
        <p:spPr>
          <a:xfrm>
            <a:off x="1" y="82153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Graphic 11">
            <a:extLst>
              <a:ext uri="{FF2B5EF4-FFF2-40B4-BE49-F238E27FC236}">
                <a16:creationId xmlns:a16="http://schemas.microsoft.com/office/drawing/2014/main" id="{DE5344B7-4D05-47CB-914E-142D498FA7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4638"/>
            <a:ext cx="10892552" cy="34289"/>
          </a:xfrm>
          <a:prstGeom prst="rect">
            <a:avLst/>
          </a:prstGeom>
        </p:spPr>
      </p:pic>
      <p:sp>
        <p:nvSpPr>
          <p:cNvPr id="11" name="Pladsholder til tekst 16">
            <a:extLst>
              <a:ext uri="{FF2B5EF4-FFF2-40B4-BE49-F238E27FC236}">
                <a16:creationId xmlns:a16="http://schemas.microsoft.com/office/drawing/2014/main" id="{FCCFA42B-746F-4C2B-9E6B-176CF0F85A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835" y="3557192"/>
            <a:ext cx="3944948" cy="1020185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en-US" sz="10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 and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Phone</a:t>
            </a:r>
          </a:p>
          <a:p>
            <a:pPr lvl="0"/>
            <a:r>
              <a:rPr lang="en-US" dirty="0"/>
              <a:t>Mail</a:t>
            </a:r>
          </a:p>
          <a:p>
            <a:pPr lvl="0"/>
            <a:r>
              <a:rPr lang="en-US" dirty="0" err="1"/>
              <a:t>Kamstrup</a:t>
            </a:r>
            <a:r>
              <a:rPr lang="en-US" dirty="0"/>
              <a:t> A/S</a:t>
            </a:r>
          </a:p>
        </p:txBody>
      </p:sp>
      <p:sp>
        <p:nvSpPr>
          <p:cNvPr id="13" name="Pladsholder til billede 2">
            <a:extLst>
              <a:ext uri="{FF2B5EF4-FFF2-40B4-BE49-F238E27FC236}">
                <a16:creationId xmlns:a16="http://schemas.microsoft.com/office/drawing/2014/main" id="{4FBEEC61-1B4D-453A-8AE9-FC68BA672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154" y="3627429"/>
            <a:ext cx="690121" cy="813161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5" name="Titel 13">
            <a:extLst>
              <a:ext uri="{FF2B5EF4-FFF2-40B4-BE49-F238E27FC236}">
                <a16:creationId xmlns:a16="http://schemas.microsoft.com/office/drawing/2014/main" id="{CBC9DCAF-3182-CC47-8C63-7C9BC3175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2613379"/>
            <a:ext cx="3944948" cy="372314"/>
          </a:xfr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r>
              <a:rPr lang="da-DK" dirty="0"/>
              <a:t> for </a:t>
            </a:r>
            <a:r>
              <a:rPr lang="da-DK" dirty="0" err="1"/>
              <a:t>listening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133EE6B5-FC29-42C6-8966-1A92E97428D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893E103-56E6-46A7-9943-DB81AFE410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Kombinationstegning: figur 5">
            <a:extLst>
              <a:ext uri="{FF2B5EF4-FFF2-40B4-BE49-F238E27FC236}">
                <a16:creationId xmlns:a16="http://schemas.microsoft.com/office/drawing/2014/main" id="{588265CE-AEA5-88A8-2D41-6C8BEA962D88}"/>
              </a:ext>
            </a:extLst>
          </p:cNvPr>
          <p:cNvSpPr/>
          <p:nvPr userDrawn="1"/>
        </p:nvSpPr>
        <p:spPr>
          <a:xfrm>
            <a:off x="8356135" y="4761204"/>
            <a:ext cx="543390" cy="79084"/>
          </a:xfrm>
          <a:custGeom>
            <a:avLst/>
            <a:gdLst/>
            <a:ahLst/>
            <a:cxnLst/>
            <a:rect l="l" t="t" r="r" b="b"/>
            <a:pathLst>
              <a:path w="543390" h="79084">
                <a:moveTo>
                  <a:pt x="499132" y="53188"/>
                </a:moveTo>
                <a:cubicBezTo>
                  <a:pt x="496453" y="53188"/>
                  <a:pt x="494109" y="53430"/>
                  <a:pt x="492100" y="53913"/>
                </a:cubicBezTo>
                <a:cubicBezTo>
                  <a:pt x="490091" y="54397"/>
                  <a:pt x="488416" y="55104"/>
                  <a:pt x="487077" y="56034"/>
                </a:cubicBezTo>
                <a:cubicBezTo>
                  <a:pt x="485737" y="56964"/>
                  <a:pt x="484742" y="58081"/>
                  <a:pt x="484091" y="59383"/>
                </a:cubicBezTo>
                <a:cubicBezTo>
                  <a:pt x="483440" y="60685"/>
                  <a:pt x="483114" y="62173"/>
                  <a:pt x="483114" y="63848"/>
                </a:cubicBezTo>
                <a:cubicBezTo>
                  <a:pt x="483114" y="66750"/>
                  <a:pt x="484035" y="69066"/>
                  <a:pt x="485877" y="70796"/>
                </a:cubicBezTo>
                <a:cubicBezTo>
                  <a:pt x="487719" y="72526"/>
                  <a:pt x="490314" y="73391"/>
                  <a:pt x="493663" y="73391"/>
                </a:cubicBezTo>
                <a:cubicBezTo>
                  <a:pt x="496304" y="73391"/>
                  <a:pt x="498769" y="72712"/>
                  <a:pt x="501057" y="71354"/>
                </a:cubicBezTo>
                <a:cubicBezTo>
                  <a:pt x="503346" y="69996"/>
                  <a:pt x="505773" y="67903"/>
                  <a:pt x="508341" y="65075"/>
                </a:cubicBezTo>
                <a:lnTo>
                  <a:pt x="508341" y="53188"/>
                </a:lnTo>
                <a:close/>
                <a:moveTo>
                  <a:pt x="81092" y="30250"/>
                </a:moveTo>
                <a:cubicBezTo>
                  <a:pt x="78079" y="30250"/>
                  <a:pt x="75474" y="30789"/>
                  <a:pt x="73279" y="31868"/>
                </a:cubicBezTo>
                <a:cubicBezTo>
                  <a:pt x="71084" y="32947"/>
                  <a:pt x="69289" y="34445"/>
                  <a:pt x="67893" y="36361"/>
                </a:cubicBezTo>
                <a:cubicBezTo>
                  <a:pt x="66498" y="38277"/>
                  <a:pt x="65465" y="40537"/>
                  <a:pt x="64796" y="43142"/>
                </a:cubicBezTo>
                <a:cubicBezTo>
                  <a:pt x="64126" y="45746"/>
                  <a:pt x="63791" y="48556"/>
                  <a:pt x="63791" y="51569"/>
                </a:cubicBezTo>
                <a:cubicBezTo>
                  <a:pt x="63791" y="54471"/>
                  <a:pt x="64070" y="57234"/>
                  <a:pt x="64628" y="59857"/>
                </a:cubicBezTo>
                <a:cubicBezTo>
                  <a:pt x="65186" y="62480"/>
                  <a:pt x="66117" y="64778"/>
                  <a:pt x="67419" y="66750"/>
                </a:cubicBezTo>
                <a:cubicBezTo>
                  <a:pt x="68721" y="68722"/>
                  <a:pt x="70470" y="70284"/>
                  <a:pt x="72665" y="71438"/>
                </a:cubicBezTo>
                <a:cubicBezTo>
                  <a:pt x="74860" y="72591"/>
                  <a:pt x="77595" y="73168"/>
                  <a:pt x="80869" y="73168"/>
                </a:cubicBezTo>
                <a:cubicBezTo>
                  <a:pt x="83883" y="73168"/>
                  <a:pt x="86487" y="72628"/>
                  <a:pt x="88683" y="71549"/>
                </a:cubicBezTo>
                <a:cubicBezTo>
                  <a:pt x="90878" y="70470"/>
                  <a:pt x="92673" y="68982"/>
                  <a:pt x="94068" y="67085"/>
                </a:cubicBezTo>
                <a:cubicBezTo>
                  <a:pt x="95464" y="65187"/>
                  <a:pt x="96496" y="62936"/>
                  <a:pt x="97166" y="60332"/>
                </a:cubicBezTo>
                <a:cubicBezTo>
                  <a:pt x="97836" y="57727"/>
                  <a:pt x="98170" y="54899"/>
                  <a:pt x="98170" y="51848"/>
                </a:cubicBezTo>
                <a:cubicBezTo>
                  <a:pt x="98170" y="48983"/>
                  <a:pt x="97891" y="46249"/>
                  <a:pt x="97333" y="43644"/>
                </a:cubicBezTo>
                <a:cubicBezTo>
                  <a:pt x="96775" y="41040"/>
                  <a:pt x="95845" y="38742"/>
                  <a:pt x="94543" y="36752"/>
                </a:cubicBezTo>
                <a:cubicBezTo>
                  <a:pt x="93241" y="34761"/>
                  <a:pt x="91492" y="33180"/>
                  <a:pt x="89297" y="32008"/>
                </a:cubicBezTo>
                <a:cubicBezTo>
                  <a:pt x="87101" y="30836"/>
                  <a:pt x="84367" y="30250"/>
                  <a:pt x="81092" y="30250"/>
                </a:cubicBezTo>
                <a:close/>
                <a:moveTo>
                  <a:pt x="318045" y="30138"/>
                </a:moveTo>
                <a:cubicBezTo>
                  <a:pt x="315515" y="30138"/>
                  <a:pt x="313292" y="30612"/>
                  <a:pt x="311376" y="31561"/>
                </a:cubicBezTo>
                <a:cubicBezTo>
                  <a:pt x="309460" y="32510"/>
                  <a:pt x="307841" y="33766"/>
                  <a:pt x="306521" y="35328"/>
                </a:cubicBezTo>
                <a:cubicBezTo>
                  <a:pt x="305200" y="36891"/>
                  <a:pt x="304186" y="38705"/>
                  <a:pt x="303479" y="40770"/>
                </a:cubicBezTo>
                <a:cubicBezTo>
                  <a:pt x="302772" y="42835"/>
                  <a:pt x="302363" y="44984"/>
                  <a:pt x="302251" y="47216"/>
                </a:cubicBezTo>
                <a:lnTo>
                  <a:pt x="332947" y="47216"/>
                </a:lnTo>
                <a:cubicBezTo>
                  <a:pt x="333058" y="41858"/>
                  <a:pt x="331831" y="37672"/>
                  <a:pt x="329263" y="34659"/>
                </a:cubicBezTo>
                <a:cubicBezTo>
                  <a:pt x="326696" y="31645"/>
                  <a:pt x="322957" y="30138"/>
                  <a:pt x="318045" y="30138"/>
                </a:cubicBezTo>
                <a:close/>
                <a:moveTo>
                  <a:pt x="259389" y="30138"/>
                </a:moveTo>
                <a:cubicBezTo>
                  <a:pt x="256821" y="30138"/>
                  <a:pt x="254626" y="30752"/>
                  <a:pt x="252803" y="31980"/>
                </a:cubicBezTo>
                <a:cubicBezTo>
                  <a:pt x="250980" y="33208"/>
                  <a:pt x="249491" y="34826"/>
                  <a:pt x="248338" y="36835"/>
                </a:cubicBezTo>
                <a:cubicBezTo>
                  <a:pt x="247185" y="38845"/>
                  <a:pt x="246347" y="41114"/>
                  <a:pt x="245827" y="43644"/>
                </a:cubicBezTo>
                <a:cubicBezTo>
                  <a:pt x="245306" y="46174"/>
                  <a:pt x="245045" y="48742"/>
                  <a:pt x="245045" y="51346"/>
                </a:cubicBezTo>
                <a:cubicBezTo>
                  <a:pt x="245045" y="54137"/>
                  <a:pt x="245268" y="56853"/>
                  <a:pt x="245715" y="59494"/>
                </a:cubicBezTo>
                <a:cubicBezTo>
                  <a:pt x="246161" y="62136"/>
                  <a:pt x="246924" y="64489"/>
                  <a:pt x="248003" y="66554"/>
                </a:cubicBezTo>
                <a:cubicBezTo>
                  <a:pt x="249082" y="68619"/>
                  <a:pt x="250515" y="70275"/>
                  <a:pt x="252301" y="71522"/>
                </a:cubicBezTo>
                <a:cubicBezTo>
                  <a:pt x="254087" y="72768"/>
                  <a:pt x="256319" y="73391"/>
                  <a:pt x="258998" y="73391"/>
                </a:cubicBezTo>
                <a:cubicBezTo>
                  <a:pt x="260337" y="73391"/>
                  <a:pt x="261640" y="73205"/>
                  <a:pt x="262905" y="72833"/>
                </a:cubicBezTo>
                <a:cubicBezTo>
                  <a:pt x="264170" y="72461"/>
                  <a:pt x="265472" y="71847"/>
                  <a:pt x="266811" y="70991"/>
                </a:cubicBezTo>
                <a:cubicBezTo>
                  <a:pt x="268151" y="70136"/>
                  <a:pt x="269537" y="69029"/>
                  <a:pt x="270969" y="67671"/>
                </a:cubicBezTo>
                <a:cubicBezTo>
                  <a:pt x="272402" y="66313"/>
                  <a:pt x="273936" y="64629"/>
                  <a:pt x="275574" y="62620"/>
                </a:cubicBezTo>
                <a:lnTo>
                  <a:pt x="275574" y="40575"/>
                </a:lnTo>
                <a:cubicBezTo>
                  <a:pt x="272783" y="37189"/>
                  <a:pt x="270095" y="34603"/>
                  <a:pt x="267509" y="32817"/>
                </a:cubicBezTo>
                <a:cubicBezTo>
                  <a:pt x="264923" y="31031"/>
                  <a:pt x="262216" y="30138"/>
                  <a:pt x="259389" y="30138"/>
                </a:cubicBezTo>
                <a:close/>
                <a:moveTo>
                  <a:pt x="454316" y="25059"/>
                </a:moveTo>
                <a:cubicBezTo>
                  <a:pt x="454986" y="25059"/>
                  <a:pt x="455535" y="25087"/>
                  <a:pt x="455963" y="25143"/>
                </a:cubicBezTo>
                <a:cubicBezTo>
                  <a:pt x="456390" y="25199"/>
                  <a:pt x="456725" y="25292"/>
                  <a:pt x="456967" y="25422"/>
                </a:cubicBezTo>
                <a:cubicBezTo>
                  <a:pt x="457209" y="25552"/>
                  <a:pt x="457386" y="25710"/>
                  <a:pt x="457497" y="25896"/>
                </a:cubicBezTo>
                <a:cubicBezTo>
                  <a:pt x="457609" y="26082"/>
                  <a:pt x="457665" y="26287"/>
                  <a:pt x="457665" y="26510"/>
                </a:cubicBezTo>
                <a:lnTo>
                  <a:pt x="457665" y="77019"/>
                </a:lnTo>
                <a:cubicBezTo>
                  <a:pt x="457665" y="77242"/>
                  <a:pt x="457609" y="77447"/>
                  <a:pt x="457497" y="77633"/>
                </a:cubicBezTo>
                <a:cubicBezTo>
                  <a:pt x="457386" y="77819"/>
                  <a:pt x="457209" y="77968"/>
                  <a:pt x="456967" y="78079"/>
                </a:cubicBezTo>
                <a:cubicBezTo>
                  <a:pt x="456725" y="78191"/>
                  <a:pt x="456390" y="78284"/>
                  <a:pt x="455963" y="78358"/>
                </a:cubicBezTo>
                <a:cubicBezTo>
                  <a:pt x="455535" y="78433"/>
                  <a:pt x="454986" y="78470"/>
                  <a:pt x="454316" y="78470"/>
                </a:cubicBezTo>
                <a:cubicBezTo>
                  <a:pt x="453684" y="78470"/>
                  <a:pt x="453153" y="78433"/>
                  <a:pt x="452726" y="78358"/>
                </a:cubicBezTo>
                <a:cubicBezTo>
                  <a:pt x="452298" y="78284"/>
                  <a:pt x="451953" y="78191"/>
                  <a:pt x="451693" y="78079"/>
                </a:cubicBezTo>
                <a:cubicBezTo>
                  <a:pt x="451433" y="77968"/>
                  <a:pt x="451256" y="77819"/>
                  <a:pt x="451163" y="77633"/>
                </a:cubicBezTo>
                <a:cubicBezTo>
                  <a:pt x="451070" y="77447"/>
                  <a:pt x="451023" y="77242"/>
                  <a:pt x="451023" y="77019"/>
                </a:cubicBezTo>
                <a:lnTo>
                  <a:pt x="451023" y="26510"/>
                </a:lnTo>
                <a:cubicBezTo>
                  <a:pt x="451023" y="26287"/>
                  <a:pt x="451070" y="26082"/>
                  <a:pt x="451163" y="25896"/>
                </a:cubicBezTo>
                <a:cubicBezTo>
                  <a:pt x="451256" y="25710"/>
                  <a:pt x="451433" y="25552"/>
                  <a:pt x="451693" y="25422"/>
                </a:cubicBezTo>
                <a:cubicBezTo>
                  <a:pt x="451953" y="25292"/>
                  <a:pt x="452298" y="25199"/>
                  <a:pt x="452726" y="25143"/>
                </a:cubicBezTo>
                <a:cubicBezTo>
                  <a:pt x="453153" y="25087"/>
                  <a:pt x="453684" y="25059"/>
                  <a:pt x="454316" y="25059"/>
                </a:cubicBezTo>
                <a:close/>
                <a:moveTo>
                  <a:pt x="216191" y="25059"/>
                </a:moveTo>
                <a:cubicBezTo>
                  <a:pt x="216861" y="25059"/>
                  <a:pt x="217410" y="25087"/>
                  <a:pt x="217838" y="25143"/>
                </a:cubicBezTo>
                <a:cubicBezTo>
                  <a:pt x="218265" y="25199"/>
                  <a:pt x="218600" y="25292"/>
                  <a:pt x="218842" y="25422"/>
                </a:cubicBezTo>
                <a:cubicBezTo>
                  <a:pt x="219084" y="25552"/>
                  <a:pt x="219261" y="25710"/>
                  <a:pt x="219372" y="25896"/>
                </a:cubicBezTo>
                <a:cubicBezTo>
                  <a:pt x="219484" y="26082"/>
                  <a:pt x="219540" y="26287"/>
                  <a:pt x="219540" y="26510"/>
                </a:cubicBezTo>
                <a:lnTo>
                  <a:pt x="219540" y="77019"/>
                </a:lnTo>
                <a:cubicBezTo>
                  <a:pt x="219540" y="77242"/>
                  <a:pt x="219484" y="77447"/>
                  <a:pt x="219372" y="77633"/>
                </a:cubicBezTo>
                <a:cubicBezTo>
                  <a:pt x="219261" y="77819"/>
                  <a:pt x="219084" y="77968"/>
                  <a:pt x="218842" y="78079"/>
                </a:cubicBezTo>
                <a:cubicBezTo>
                  <a:pt x="218600" y="78191"/>
                  <a:pt x="218265" y="78284"/>
                  <a:pt x="217838" y="78358"/>
                </a:cubicBezTo>
                <a:cubicBezTo>
                  <a:pt x="217410" y="78433"/>
                  <a:pt x="216861" y="78470"/>
                  <a:pt x="216191" y="78470"/>
                </a:cubicBezTo>
                <a:cubicBezTo>
                  <a:pt x="215559" y="78470"/>
                  <a:pt x="215029" y="78433"/>
                  <a:pt x="214601" y="78358"/>
                </a:cubicBezTo>
                <a:cubicBezTo>
                  <a:pt x="214173" y="78284"/>
                  <a:pt x="213829" y="78191"/>
                  <a:pt x="213568" y="78079"/>
                </a:cubicBezTo>
                <a:cubicBezTo>
                  <a:pt x="213308" y="77968"/>
                  <a:pt x="213131" y="77819"/>
                  <a:pt x="213038" y="77633"/>
                </a:cubicBezTo>
                <a:cubicBezTo>
                  <a:pt x="212945" y="77447"/>
                  <a:pt x="212898" y="77242"/>
                  <a:pt x="212898" y="77019"/>
                </a:cubicBezTo>
                <a:lnTo>
                  <a:pt x="212898" y="26510"/>
                </a:lnTo>
                <a:cubicBezTo>
                  <a:pt x="212898" y="26287"/>
                  <a:pt x="212945" y="26082"/>
                  <a:pt x="213038" y="25896"/>
                </a:cubicBezTo>
                <a:cubicBezTo>
                  <a:pt x="213131" y="25710"/>
                  <a:pt x="213308" y="25552"/>
                  <a:pt x="213568" y="25422"/>
                </a:cubicBezTo>
                <a:cubicBezTo>
                  <a:pt x="213829" y="25292"/>
                  <a:pt x="214173" y="25199"/>
                  <a:pt x="214601" y="25143"/>
                </a:cubicBezTo>
                <a:cubicBezTo>
                  <a:pt x="215029" y="25087"/>
                  <a:pt x="215559" y="25059"/>
                  <a:pt x="216191" y="25059"/>
                </a:cubicBezTo>
                <a:close/>
                <a:moveTo>
                  <a:pt x="496341" y="24445"/>
                </a:moveTo>
                <a:cubicBezTo>
                  <a:pt x="499802" y="24445"/>
                  <a:pt x="502723" y="24864"/>
                  <a:pt x="505104" y="25701"/>
                </a:cubicBezTo>
                <a:cubicBezTo>
                  <a:pt x="507485" y="26538"/>
                  <a:pt x="509411" y="27738"/>
                  <a:pt x="510880" y="29301"/>
                </a:cubicBezTo>
                <a:cubicBezTo>
                  <a:pt x="512350" y="30864"/>
                  <a:pt x="513401" y="32789"/>
                  <a:pt x="514033" y="35077"/>
                </a:cubicBezTo>
                <a:cubicBezTo>
                  <a:pt x="514666" y="37366"/>
                  <a:pt x="514982" y="39961"/>
                  <a:pt x="514982" y="42863"/>
                </a:cubicBezTo>
                <a:lnTo>
                  <a:pt x="514982" y="77019"/>
                </a:lnTo>
                <a:cubicBezTo>
                  <a:pt x="514982" y="77391"/>
                  <a:pt x="514861" y="77679"/>
                  <a:pt x="514619" y="77884"/>
                </a:cubicBezTo>
                <a:cubicBezTo>
                  <a:pt x="514378" y="78089"/>
                  <a:pt x="514061" y="78237"/>
                  <a:pt x="513671" y="78330"/>
                </a:cubicBezTo>
                <a:cubicBezTo>
                  <a:pt x="513280" y="78423"/>
                  <a:pt x="512750" y="78470"/>
                  <a:pt x="512080" y="78470"/>
                </a:cubicBezTo>
                <a:cubicBezTo>
                  <a:pt x="511448" y="78470"/>
                  <a:pt x="510908" y="78423"/>
                  <a:pt x="510462" y="78330"/>
                </a:cubicBezTo>
                <a:cubicBezTo>
                  <a:pt x="510015" y="78237"/>
                  <a:pt x="509671" y="78089"/>
                  <a:pt x="509429" y="77884"/>
                </a:cubicBezTo>
                <a:cubicBezTo>
                  <a:pt x="509187" y="77679"/>
                  <a:pt x="509066" y="77391"/>
                  <a:pt x="509066" y="77019"/>
                </a:cubicBezTo>
                <a:lnTo>
                  <a:pt x="509066" y="71382"/>
                </a:lnTo>
                <a:cubicBezTo>
                  <a:pt x="506797" y="73838"/>
                  <a:pt x="504295" y="75735"/>
                  <a:pt x="501560" y="77075"/>
                </a:cubicBezTo>
                <a:cubicBezTo>
                  <a:pt x="498825" y="78414"/>
                  <a:pt x="495988" y="79084"/>
                  <a:pt x="493049" y="79084"/>
                </a:cubicBezTo>
                <a:cubicBezTo>
                  <a:pt x="490407" y="79084"/>
                  <a:pt x="488035" y="78740"/>
                  <a:pt x="485933" y="78051"/>
                </a:cubicBezTo>
                <a:cubicBezTo>
                  <a:pt x="483831" y="77363"/>
                  <a:pt x="482054" y="76377"/>
                  <a:pt x="480603" y="75093"/>
                </a:cubicBezTo>
                <a:cubicBezTo>
                  <a:pt x="479152" y="73810"/>
                  <a:pt x="478036" y="72256"/>
                  <a:pt x="477254" y="70433"/>
                </a:cubicBezTo>
                <a:cubicBezTo>
                  <a:pt x="476473" y="68610"/>
                  <a:pt x="476082" y="66564"/>
                  <a:pt x="476082" y="64294"/>
                </a:cubicBezTo>
                <a:cubicBezTo>
                  <a:pt x="476082" y="61504"/>
                  <a:pt x="476659" y="59076"/>
                  <a:pt x="477812" y="57011"/>
                </a:cubicBezTo>
                <a:cubicBezTo>
                  <a:pt x="478966" y="54946"/>
                  <a:pt x="480603" y="53225"/>
                  <a:pt x="482724" y="51848"/>
                </a:cubicBezTo>
                <a:cubicBezTo>
                  <a:pt x="484845" y="50472"/>
                  <a:pt x="487393" y="49439"/>
                  <a:pt x="490370" y="48751"/>
                </a:cubicBezTo>
                <a:cubicBezTo>
                  <a:pt x="493346" y="48063"/>
                  <a:pt x="496658" y="47718"/>
                  <a:pt x="500304" y="47718"/>
                </a:cubicBezTo>
                <a:lnTo>
                  <a:pt x="508341" y="47718"/>
                </a:lnTo>
                <a:lnTo>
                  <a:pt x="508341" y="43365"/>
                </a:lnTo>
                <a:cubicBezTo>
                  <a:pt x="508341" y="41207"/>
                  <a:pt x="508118" y="39300"/>
                  <a:pt x="507671" y="37645"/>
                </a:cubicBezTo>
                <a:cubicBezTo>
                  <a:pt x="507225" y="35989"/>
                  <a:pt x="506499" y="34603"/>
                  <a:pt x="505494" y="33487"/>
                </a:cubicBezTo>
                <a:cubicBezTo>
                  <a:pt x="504490" y="32370"/>
                  <a:pt x="503188" y="31533"/>
                  <a:pt x="501588" y="30975"/>
                </a:cubicBezTo>
                <a:cubicBezTo>
                  <a:pt x="499988" y="30417"/>
                  <a:pt x="498034" y="30138"/>
                  <a:pt x="495728" y="30138"/>
                </a:cubicBezTo>
                <a:cubicBezTo>
                  <a:pt x="493495" y="30138"/>
                  <a:pt x="491486" y="30408"/>
                  <a:pt x="489700" y="30947"/>
                </a:cubicBezTo>
                <a:cubicBezTo>
                  <a:pt x="487914" y="31487"/>
                  <a:pt x="486351" y="32091"/>
                  <a:pt x="485012" y="32761"/>
                </a:cubicBezTo>
                <a:cubicBezTo>
                  <a:pt x="483673" y="33431"/>
                  <a:pt x="482566" y="34035"/>
                  <a:pt x="481691" y="34575"/>
                </a:cubicBezTo>
                <a:cubicBezTo>
                  <a:pt x="480817" y="35115"/>
                  <a:pt x="480194" y="35384"/>
                  <a:pt x="479822" y="35384"/>
                </a:cubicBezTo>
                <a:cubicBezTo>
                  <a:pt x="479598" y="35384"/>
                  <a:pt x="479394" y="35347"/>
                  <a:pt x="479208" y="35273"/>
                </a:cubicBezTo>
                <a:cubicBezTo>
                  <a:pt x="479022" y="35198"/>
                  <a:pt x="478863" y="35059"/>
                  <a:pt x="478733" y="34854"/>
                </a:cubicBezTo>
                <a:cubicBezTo>
                  <a:pt x="478603" y="34649"/>
                  <a:pt x="478510" y="34389"/>
                  <a:pt x="478454" y="34073"/>
                </a:cubicBezTo>
                <a:cubicBezTo>
                  <a:pt x="478398" y="33756"/>
                  <a:pt x="478371" y="33375"/>
                  <a:pt x="478371" y="32929"/>
                </a:cubicBezTo>
                <a:cubicBezTo>
                  <a:pt x="478371" y="32147"/>
                  <a:pt x="478426" y="31524"/>
                  <a:pt x="478538" y="31059"/>
                </a:cubicBezTo>
                <a:cubicBezTo>
                  <a:pt x="478650" y="30594"/>
                  <a:pt x="478938" y="30129"/>
                  <a:pt x="479403" y="29664"/>
                </a:cubicBezTo>
                <a:cubicBezTo>
                  <a:pt x="479868" y="29199"/>
                  <a:pt x="480696" y="28650"/>
                  <a:pt x="481887" y="28017"/>
                </a:cubicBezTo>
                <a:cubicBezTo>
                  <a:pt x="483077" y="27385"/>
                  <a:pt x="484445" y="26799"/>
                  <a:pt x="485989" y="26259"/>
                </a:cubicBezTo>
                <a:cubicBezTo>
                  <a:pt x="487533" y="25720"/>
                  <a:pt x="489198" y="25283"/>
                  <a:pt x="490984" y="24948"/>
                </a:cubicBezTo>
                <a:cubicBezTo>
                  <a:pt x="492770" y="24613"/>
                  <a:pt x="494556" y="24445"/>
                  <a:pt x="496341" y="24445"/>
                </a:cubicBezTo>
                <a:close/>
                <a:moveTo>
                  <a:pt x="378935" y="24445"/>
                </a:moveTo>
                <a:cubicBezTo>
                  <a:pt x="382246" y="24445"/>
                  <a:pt x="385037" y="25003"/>
                  <a:pt x="387306" y="26120"/>
                </a:cubicBezTo>
                <a:cubicBezTo>
                  <a:pt x="389576" y="27236"/>
                  <a:pt x="391408" y="28743"/>
                  <a:pt x="392804" y="30640"/>
                </a:cubicBezTo>
                <a:cubicBezTo>
                  <a:pt x="394199" y="32538"/>
                  <a:pt x="395203" y="34752"/>
                  <a:pt x="395817" y="37282"/>
                </a:cubicBezTo>
                <a:cubicBezTo>
                  <a:pt x="396431" y="39812"/>
                  <a:pt x="396738" y="42863"/>
                  <a:pt x="396738" y="46435"/>
                </a:cubicBezTo>
                <a:lnTo>
                  <a:pt x="396738" y="77019"/>
                </a:lnTo>
                <a:cubicBezTo>
                  <a:pt x="396738" y="77242"/>
                  <a:pt x="396682" y="77447"/>
                  <a:pt x="396571" y="77633"/>
                </a:cubicBezTo>
                <a:cubicBezTo>
                  <a:pt x="396459" y="77819"/>
                  <a:pt x="396283" y="77968"/>
                  <a:pt x="396041" y="78079"/>
                </a:cubicBezTo>
                <a:cubicBezTo>
                  <a:pt x="395799" y="78191"/>
                  <a:pt x="395464" y="78284"/>
                  <a:pt x="395036" y="78358"/>
                </a:cubicBezTo>
                <a:cubicBezTo>
                  <a:pt x="394608" y="78433"/>
                  <a:pt x="394078" y="78470"/>
                  <a:pt x="393445" y="78470"/>
                </a:cubicBezTo>
                <a:cubicBezTo>
                  <a:pt x="392776" y="78470"/>
                  <a:pt x="392227" y="78433"/>
                  <a:pt x="391799" y="78358"/>
                </a:cubicBezTo>
                <a:cubicBezTo>
                  <a:pt x="391371" y="78284"/>
                  <a:pt x="391036" y="78191"/>
                  <a:pt x="390794" y="78079"/>
                </a:cubicBezTo>
                <a:cubicBezTo>
                  <a:pt x="390553" y="77968"/>
                  <a:pt x="390376" y="77819"/>
                  <a:pt x="390264" y="77633"/>
                </a:cubicBezTo>
                <a:cubicBezTo>
                  <a:pt x="390153" y="77447"/>
                  <a:pt x="390097" y="77242"/>
                  <a:pt x="390097" y="77019"/>
                </a:cubicBezTo>
                <a:lnTo>
                  <a:pt x="390097" y="47049"/>
                </a:lnTo>
                <a:cubicBezTo>
                  <a:pt x="390097" y="43923"/>
                  <a:pt x="389855" y="41384"/>
                  <a:pt x="389371" y="39431"/>
                </a:cubicBezTo>
                <a:cubicBezTo>
                  <a:pt x="388888" y="37477"/>
                  <a:pt x="388162" y="35803"/>
                  <a:pt x="387195" y="34408"/>
                </a:cubicBezTo>
                <a:cubicBezTo>
                  <a:pt x="386227" y="33012"/>
                  <a:pt x="384990" y="31933"/>
                  <a:pt x="383483" y="31171"/>
                </a:cubicBezTo>
                <a:cubicBezTo>
                  <a:pt x="381976" y="30408"/>
                  <a:pt x="380218" y="30026"/>
                  <a:pt x="378209" y="30026"/>
                </a:cubicBezTo>
                <a:cubicBezTo>
                  <a:pt x="375642" y="30026"/>
                  <a:pt x="373075" y="30938"/>
                  <a:pt x="370507" y="32761"/>
                </a:cubicBezTo>
                <a:cubicBezTo>
                  <a:pt x="367940" y="34584"/>
                  <a:pt x="365243" y="37263"/>
                  <a:pt x="362415" y="40798"/>
                </a:cubicBezTo>
                <a:lnTo>
                  <a:pt x="362415" y="77019"/>
                </a:lnTo>
                <a:cubicBezTo>
                  <a:pt x="362415" y="77242"/>
                  <a:pt x="362359" y="77447"/>
                  <a:pt x="362247" y="77633"/>
                </a:cubicBezTo>
                <a:cubicBezTo>
                  <a:pt x="362136" y="77819"/>
                  <a:pt x="361959" y="77968"/>
                  <a:pt x="361717" y="78079"/>
                </a:cubicBezTo>
                <a:cubicBezTo>
                  <a:pt x="361475" y="78191"/>
                  <a:pt x="361140" y="78284"/>
                  <a:pt x="360713" y="78358"/>
                </a:cubicBezTo>
                <a:cubicBezTo>
                  <a:pt x="360285" y="78433"/>
                  <a:pt x="359736" y="78470"/>
                  <a:pt x="359066" y="78470"/>
                </a:cubicBezTo>
                <a:cubicBezTo>
                  <a:pt x="358434" y="78470"/>
                  <a:pt x="357903" y="78433"/>
                  <a:pt x="357476" y="78358"/>
                </a:cubicBezTo>
                <a:cubicBezTo>
                  <a:pt x="357048" y="78284"/>
                  <a:pt x="356704" y="78191"/>
                  <a:pt x="356443" y="78079"/>
                </a:cubicBezTo>
                <a:cubicBezTo>
                  <a:pt x="356183" y="77968"/>
                  <a:pt x="356006" y="77819"/>
                  <a:pt x="355913" y="77633"/>
                </a:cubicBezTo>
                <a:cubicBezTo>
                  <a:pt x="355820" y="77447"/>
                  <a:pt x="355773" y="77242"/>
                  <a:pt x="355773" y="77019"/>
                </a:cubicBezTo>
                <a:lnTo>
                  <a:pt x="355773" y="26510"/>
                </a:lnTo>
                <a:cubicBezTo>
                  <a:pt x="355773" y="26287"/>
                  <a:pt x="355820" y="26082"/>
                  <a:pt x="355913" y="25896"/>
                </a:cubicBezTo>
                <a:cubicBezTo>
                  <a:pt x="356006" y="25710"/>
                  <a:pt x="356183" y="25552"/>
                  <a:pt x="356443" y="25422"/>
                </a:cubicBezTo>
                <a:cubicBezTo>
                  <a:pt x="356704" y="25292"/>
                  <a:pt x="357029" y="25199"/>
                  <a:pt x="357420" y="25143"/>
                </a:cubicBezTo>
                <a:cubicBezTo>
                  <a:pt x="357810" y="25087"/>
                  <a:pt x="358322" y="25059"/>
                  <a:pt x="358955" y="25059"/>
                </a:cubicBezTo>
                <a:cubicBezTo>
                  <a:pt x="359587" y="25059"/>
                  <a:pt x="360108" y="25087"/>
                  <a:pt x="360517" y="25143"/>
                </a:cubicBezTo>
                <a:cubicBezTo>
                  <a:pt x="360927" y="25199"/>
                  <a:pt x="361243" y="25292"/>
                  <a:pt x="361466" y="25422"/>
                </a:cubicBezTo>
                <a:cubicBezTo>
                  <a:pt x="361689" y="25552"/>
                  <a:pt x="361847" y="25710"/>
                  <a:pt x="361940" y="25896"/>
                </a:cubicBezTo>
                <a:cubicBezTo>
                  <a:pt x="362033" y="26082"/>
                  <a:pt x="362080" y="26287"/>
                  <a:pt x="362080" y="26510"/>
                </a:cubicBezTo>
                <a:lnTo>
                  <a:pt x="362080" y="33654"/>
                </a:lnTo>
                <a:cubicBezTo>
                  <a:pt x="364982" y="30417"/>
                  <a:pt x="367828" y="28073"/>
                  <a:pt x="370619" y="26622"/>
                </a:cubicBezTo>
                <a:cubicBezTo>
                  <a:pt x="373409" y="25171"/>
                  <a:pt x="376181" y="24445"/>
                  <a:pt x="378935" y="24445"/>
                </a:cubicBezTo>
                <a:close/>
                <a:moveTo>
                  <a:pt x="318492" y="24445"/>
                </a:moveTo>
                <a:cubicBezTo>
                  <a:pt x="322287" y="24445"/>
                  <a:pt x="325524" y="25078"/>
                  <a:pt x="328203" y="26343"/>
                </a:cubicBezTo>
                <a:cubicBezTo>
                  <a:pt x="330882" y="27608"/>
                  <a:pt x="333086" y="29310"/>
                  <a:pt x="334817" y="31450"/>
                </a:cubicBezTo>
                <a:cubicBezTo>
                  <a:pt x="336547" y="33589"/>
                  <a:pt x="337812" y="36073"/>
                  <a:pt x="338612" y="38900"/>
                </a:cubicBezTo>
                <a:cubicBezTo>
                  <a:pt x="339412" y="41728"/>
                  <a:pt x="339812" y="44705"/>
                  <a:pt x="339812" y="47830"/>
                </a:cubicBezTo>
                <a:lnTo>
                  <a:pt x="339812" y="49169"/>
                </a:lnTo>
                <a:cubicBezTo>
                  <a:pt x="339812" y="50509"/>
                  <a:pt x="339458" y="51430"/>
                  <a:pt x="338751" y="51932"/>
                </a:cubicBezTo>
                <a:cubicBezTo>
                  <a:pt x="338044" y="52434"/>
                  <a:pt x="337356" y="52686"/>
                  <a:pt x="336686" y="52686"/>
                </a:cubicBezTo>
                <a:lnTo>
                  <a:pt x="302251" y="52686"/>
                </a:lnTo>
                <a:cubicBezTo>
                  <a:pt x="302251" y="55811"/>
                  <a:pt x="302558" y="58639"/>
                  <a:pt x="303172" y="61169"/>
                </a:cubicBezTo>
                <a:cubicBezTo>
                  <a:pt x="303786" y="63699"/>
                  <a:pt x="304800" y="65866"/>
                  <a:pt x="306214" y="67671"/>
                </a:cubicBezTo>
                <a:cubicBezTo>
                  <a:pt x="307627" y="69475"/>
                  <a:pt x="309469" y="70861"/>
                  <a:pt x="311739" y="71829"/>
                </a:cubicBezTo>
                <a:cubicBezTo>
                  <a:pt x="314008" y="72796"/>
                  <a:pt x="316799" y="73280"/>
                  <a:pt x="320110" y="73280"/>
                </a:cubicBezTo>
                <a:cubicBezTo>
                  <a:pt x="322454" y="73280"/>
                  <a:pt x="324557" y="73075"/>
                  <a:pt x="326417" y="72666"/>
                </a:cubicBezTo>
                <a:cubicBezTo>
                  <a:pt x="328277" y="72256"/>
                  <a:pt x="329887" y="71801"/>
                  <a:pt x="331245" y="71298"/>
                </a:cubicBezTo>
                <a:cubicBezTo>
                  <a:pt x="332603" y="70796"/>
                  <a:pt x="333719" y="70340"/>
                  <a:pt x="334593" y="69931"/>
                </a:cubicBezTo>
                <a:cubicBezTo>
                  <a:pt x="335468" y="69522"/>
                  <a:pt x="336091" y="69317"/>
                  <a:pt x="336463" y="69317"/>
                </a:cubicBezTo>
                <a:cubicBezTo>
                  <a:pt x="336686" y="69317"/>
                  <a:pt x="336891" y="69373"/>
                  <a:pt x="337077" y="69484"/>
                </a:cubicBezTo>
                <a:cubicBezTo>
                  <a:pt x="337263" y="69596"/>
                  <a:pt x="337412" y="69773"/>
                  <a:pt x="337523" y="70015"/>
                </a:cubicBezTo>
                <a:cubicBezTo>
                  <a:pt x="337635" y="70257"/>
                  <a:pt x="337719" y="70564"/>
                  <a:pt x="337774" y="70936"/>
                </a:cubicBezTo>
                <a:cubicBezTo>
                  <a:pt x="337830" y="71308"/>
                  <a:pt x="337858" y="71773"/>
                  <a:pt x="337858" y="72331"/>
                </a:cubicBezTo>
                <a:cubicBezTo>
                  <a:pt x="337858" y="72591"/>
                  <a:pt x="337840" y="72842"/>
                  <a:pt x="337802" y="73084"/>
                </a:cubicBezTo>
                <a:cubicBezTo>
                  <a:pt x="337765" y="73326"/>
                  <a:pt x="337719" y="73549"/>
                  <a:pt x="337663" y="73754"/>
                </a:cubicBezTo>
                <a:cubicBezTo>
                  <a:pt x="337607" y="73959"/>
                  <a:pt x="337523" y="74154"/>
                  <a:pt x="337412" y="74340"/>
                </a:cubicBezTo>
                <a:cubicBezTo>
                  <a:pt x="337300" y="74526"/>
                  <a:pt x="337151" y="74712"/>
                  <a:pt x="336965" y="74898"/>
                </a:cubicBezTo>
                <a:cubicBezTo>
                  <a:pt x="336779" y="75084"/>
                  <a:pt x="336202" y="75410"/>
                  <a:pt x="335235" y="75875"/>
                </a:cubicBezTo>
                <a:cubicBezTo>
                  <a:pt x="334268" y="76340"/>
                  <a:pt x="333003" y="76805"/>
                  <a:pt x="331440" y="77270"/>
                </a:cubicBezTo>
                <a:cubicBezTo>
                  <a:pt x="329877" y="77735"/>
                  <a:pt x="328063" y="78154"/>
                  <a:pt x="325998" y="78526"/>
                </a:cubicBezTo>
                <a:cubicBezTo>
                  <a:pt x="323933" y="78898"/>
                  <a:pt x="321710" y="79084"/>
                  <a:pt x="319329" y="79084"/>
                </a:cubicBezTo>
                <a:cubicBezTo>
                  <a:pt x="315422" y="79084"/>
                  <a:pt x="311962" y="78498"/>
                  <a:pt x="308948" y="77326"/>
                </a:cubicBezTo>
                <a:cubicBezTo>
                  <a:pt x="305935" y="76154"/>
                  <a:pt x="303404" y="74424"/>
                  <a:pt x="301358" y="72136"/>
                </a:cubicBezTo>
                <a:cubicBezTo>
                  <a:pt x="299312" y="69847"/>
                  <a:pt x="297758" y="67010"/>
                  <a:pt x="296698" y="63624"/>
                </a:cubicBezTo>
                <a:cubicBezTo>
                  <a:pt x="295637" y="60239"/>
                  <a:pt x="295107" y="56313"/>
                  <a:pt x="295107" y="51848"/>
                </a:cubicBezTo>
                <a:cubicBezTo>
                  <a:pt x="295107" y="47570"/>
                  <a:pt x="295656" y="43737"/>
                  <a:pt x="296754" y="40351"/>
                </a:cubicBezTo>
                <a:cubicBezTo>
                  <a:pt x="297851" y="36966"/>
                  <a:pt x="299423" y="34091"/>
                  <a:pt x="301470" y="31729"/>
                </a:cubicBezTo>
                <a:cubicBezTo>
                  <a:pt x="303516" y="29366"/>
                  <a:pt x="305981" y="27561"/>
                  <a:pt x="308865" y="26315"/>
                </a:cubicBezTo>
                <a:cubicBezTo>
                  <a:pt x="311748" y="25069"/>
                  <a:pt x="314957" y="24445"/>
                  <a:pt x="318492" y="24445"/>
                </a:cubicBezTo>
                <a:close/>
                <a:moveTo>
                  <a:pt x="140810" y="24445"/>
                </a:moveTo>
                <a:cubicBezTo>
                  <a:pt x="144121" y="24445"/>
                  <a:pt x="146912" y="25003"/>
                  <a:pt x="149181" y="26120"/>
                </a:cubicBezTo>
                <a:cubicBezTo>
                  <a:pt x="151451" y="27236"/>
                  <a:pt x="153283" y="28743"/>
                  <a:pt x="154679" y="30640"/>
                </a:cubicBezTo>
                <a:cubicBezTo>
                  <a:pt x="156074" y="32538"/>
                  <a:pt x="157079" y="34752"/>
                  <a:pt x="157692" y="37282"/>
                </a:cubicBezTo>
                <a:cubicBezTo>
                  <a:pt x="158306" y="39812"/>
                  <a:pt x="158613" y="42863"/>
                  <a:pt x="158613" y="46435"/>
                </a:cubicBezTo>
                <a:lnTo>
                  <a:pt x="158613" y="77019"/>
                </a:lnTo>
                <a:cubicBezTo>
                  <a:pt x="158613" y="77242"/>
                  <a:pt x="158557" y="77447"/>
                  <a:pt x="158446" y="77633"/>
                </a:cubicBezTo>
                <a:cubicBezTo>
                  <a:pt x="158334" y="77819"/>
                  <a:pt x="158158" y="77968"/>
                  <a:pt x="157916" y="78079"/>
                </a:cubicBezTo>
                <a:cubicBezTo>
                  <a:pt x="157674" y="78191"/>
                  <a:pt x="157339" y="78284"/>
                  <a:pt x="156911" y="78358"/>
                </a:cubicBezTo>
                <a:cubicBezTo>
                  <a:pt x="156483" y="78433"/>
                  <a:pt x="155953" y="78470"/>
                  <a:pt x="155320" y="78470"/>
                </a:cubicBezTo>
                <a:cubicBezTo>
                  <a:pt x="154651" y="78470"/>
                  <a:pt x="154102" y="78433"/>
                  <a:pt x="153674" y="78358"/>
                </a:cubicBezTo>
                <a:cubicBezTo>
                  <a:pt x="153246" y="78284"/>
                  <a:pt x="152911" y="78191"/>
                  <a:pt x="152669" y="78079"/>
                </a:cubicBezTo>
                <a:cubicBezTo>
                  <a:pt x="152428" y="77968"/>
                  <a:pt x="152251" y="77819"/>
                  <a:pt x="152139" y="77633"/>
                </a:cubicBezTo>
                <a:cubicBezTo>
                  <a:pt x="152028" y="77447"/>
                  <a:pt x="151972" y="77242"/>
                  <a:pt x="151972" y="77019"/>
                </a:cubicBezTo>
                <a:lnTo>
                  <a:pt x="151972" y="47049"/>
                </a:lnTo>
                <a:cubicBezTo>
                  <a:pt x="151972" y="43923"/>
                  <a:pt x="151730" y="41384"/>
                  <a:pt x="151246" y="39431"/>
                </a:cubicBezTo>
                <a:cubicBezTo>
                  <a:pt x="150763" y="37477"/>
                  <a:pt x="150037" y="35803"/>
                  <a:pt x="149070" y="34408"/>
                </a:cubicBezTo>
                <a:cubicBezTo>
                  <a:pt x="148102" y="33012"/>
                  <a:pt x="146865" y="31933"/>
                  <a:pt x="145358" y="31171"/>
                </a:cubicBezTo>
                <a:cubicBezTo>
                  <a:pt x="143851" y="30408"/>
                  <a:pt x="142093" y="30026"/>
                  <a:pt x="140084" y="30026"/>
                </a:cubicBezTo>
                <a:cubicBezTo>
                  <a:pt x="137517" y="30026"/>
                  <a:pt x="134950" y="30938"/>
                  <a:pt x="132382" y="32761"/>
                </a:cubicBezTo>
                <a:cubicBezTo>
                  <a:pt x="129815" y="34584"/>
                  <a:pt x="127118" y="37263"/>
                  <a:pt x="124290" y="40798"/>
                </a:cubicBezTo>
                <a:lnTo>
                  <a:pt x="124290" y="77019"/>
                </a:lnTo>
                <a:cubicBezTo>
                  <a:pt x="124290" y="77242"/>
                  <a:pt x="124234" y="77447"/>
                  <a:pt x="124122" y="77633"/>
                </a:cubicBezTo>
                <a:cubicBezTo>
                  <a:pt x="124011" y="77819"/>
                  <a:pt x="123834" y="77968"/>
                  <a:pt x="123592" y="78079"/>
                </a:cubicBezTo>
                <a:cubicBezTo>
                  <a:pt x="123350" y="78191"/>
                  <a:pt x="123015" y="78284"/>
                  <a:pt x="122588" y="78358"/>
                </a:cubicBezTo>
                <a:cubicBezTo>
                  <a:pt x="122160" y="78433"/>
                  <a:pt x="121611" y="78470"/>
                  <a:pt x="120941" y="78470"/>
                </a:cubicBezTo>
                <a:cubicBezTo>
                  <a:pt x="120309" y="78470"/>
                  <a:pt x="119778" y="78433"/>
                  <a:pt x="119351" y="78358"/>
                </a:cubicBezTo>
                <a:cubicBezTo>
                  <a:pt x="118923" y="78284"/>
                  <a:pt x="118579" y="78191"/>
                  <a:pt x="118318" y="78079"/>
                </a:cubicBezTo>
                <a:cubicBezTo>
                  <a:pt x="118058" y="77968"/>
                  <a:pt x="117881" y="77819"/>
                  <a:pt x="117788" y="77633"/>
                </a:cubicBezTo>
                <a:cubicBezTo>
                  <a:pt x="117695" y="77447"/>
                  <a:pt x="117648" y="77242"/>
                  <a:pt x="117648" y="77019"/>
                </a:cubicBezTo>
                <a:lnTo>
                  <a:pt x="117648" y="26510"/>
                </a:lnTo>
                <a:cubicBezTo>
                  <a:pt x="117648" y="26287"/>
                  <a:pt x="117695" y="26082"/>
                  <a:pt x="117788" y="25896"/>
                </a:cubicBezTo>
                <a:cubicBezTo>
                  <a:pt x="117881" y="25710"/>
                  <a:pt x="118058" y="25552"/>
                  <a:pt x="118318" y="25422"/>
                </a:cubicBezTo>
                <a:cubicBezTo>
                  <a:pt x="118579" y="25292"/>
                  <a:pt x="118904" y="25199"/>
                  <a:pt x="119295" y="25143"/>
                </a:cubicBezTo>
                <a:cubicBezTo>
                  <a:pt x="119685" y="25087"/>
                  <a:pt x="120197" y="25059"/>
                  <a:pt x="120830" y="25059"/>
                </a:cubicBezTo>
                <a:cubicBezTo>
                  <a:pt x="121462" y="25059"/>
                  <a:pt x="121983" y="25087"/>
                  <a:pt x="122392" y="25143"/>
                </a:cubicBezTo>
                <a:cubicBezTo>
                  <a:pt x="122802" y="25199"/>
                  <a:pt x="123118" y="25292"/>
                  <a:pt x="123341" y="25422"/>
                </a:cubicBezTo>
                <a:cubicBezTo>
                  <a:pt x="123564" y="25552"/>
                  <a:pt x="123722" y="25710"/>
                  <a:pt x="123815" y="25896"/>
                </a:cubicBezTo>
                <a:cubicBezTo>
                  <a:pt x="123908" y="26082"/>
                  <a:pt x="123955" y="26287"/>
                  <a:pt x="123955" y="26510"/>
                </a:cubicBezTo>
                <a:lnTo>
                  <a:pt x="123955" y="33654"/>
                </a:lnTo>
                <a:cubicBezTo>
                  <a:pt x="126857" y="30417"/>
                  <a:pt x="129703" y="28073"/>
                  <a:pt x="132494" y="26622"/>
                </a:cubicBezTo>
                <a:cubicBezTo>
                  <a:pt x="135285" y="25171"/>
                  <a:pt x="138056" y="24445"/>
                  <a:pt x="140810" y="24445"/>
                </a:cubicBezTo>
                <a:close/>
                <a:moveTo>
                  <a:pt x="81483" y="24445"/>
                </a:moveTo>
                <a:cubicBezTo>
                  <a:pt x="85427" y="24445"/>
                  <a:pt x="88878" y="25059"/>
                  <a:pt x="91836" y="26287"/>
                </a:cubicBezTo>
                <a:cubicBezTo>
                  <a:pt x="94794" y="27515"/>
                  <a:pt x="97259" y="29292"/>
                  <a:pt x="99231" y="31617"/>
                </a:cubicBezTo>
                <a:cubicBezTo>
                  <a:pt x="101203" y="33942"/>
                  <a:pt x="102691" y="36761"/>
                  <a:pt x="103696" y="40072"/>
                </a:cubicBezTo>
                <a:cubicBezTo>
                  <a:pt x="104700" y="43384"/>
                  <a:pt x="105203" y="47104"/>
                  <a:pt x="105203" y="51234"/>
                </a:cubicBezTo>
                <a:cubicBezTo>
                  <a:pt x="105203" y="55253"/>
                  <a:pt x="104682" y="58955"/>
                  <a:pt x="103640" y="62341"/>
                </a:cubicBezTo>
                <a:cubicBezTo>
                  <a:pt x="102598" y="65727"/>
                  <a:pt x="101045" y="68666"/>
                  <a:pt x="98980" y="71159"/>
                </a:cubicBezTo>
                <a:cubicBezTo>
                  <a:pt x="96915" y="73652"/>
                  <a:pt x="94338" y="75596"/>
                  <a:pt x="91250" y="76991"/>
                </a:cubicBezTo>
                <a:cubicBezTo>
                  <a:pt x="88162" y="78386"/>
                  <a:pt x="84571" y="79084"/>
                  <a:pt x="80479" y="79084"/>
                </a:cubicBezTo>
                <a:cubicBezTo>
                  <a:pt x="76535" y="79084"/>
                  <a:pt x="73084" y="78461"/>
                  <a:pt x="70126" y="77214"/>
                </a:cubicBezTo>
                <a:cubicBezTo>
                  <a:pt x="67168" y="75968"/>
                  <a:pt x="64693" y="74182"/>
                  <a:pt x="62703" y="71856"/>
                </a:cubicBezTo>
                <a:cubicBezTo>
                  <a:pt x="60712" y="69531"/>
                  <a:pt x="59224" y="66713"/>
                  <a:pt x="58238" y="63401"/>
                </a:cubicBezTo>
                <a:cubicBezTo>
                  <a:pt x="57252" y="60090"/>
                  <a:pt x="56759" y="56350"/>
                  <a:pt x="56759" y="52183"/>
                </a:cubicBezTo>
                <a:cubicBezTo>
                  <a:pt x="56759" y="48165"/>
                  <a:pt x="57271" y="44463"/>
                  <a:pt x="58294" y="41077"/>
                </a:cubicBezTo>
                <a:cubicBezTo>
                  <a:pt x="59317" y="37691"/>
                  <a:pt x="60861" y="34761"/>
                  <a:pt x="62926" y="32287"/>
                </a:cubicBezTo>
                <a:cubicBezTo>
                  <a:pt x="64991" y="29812"/>
                  <a:pt x="67568" y="27887"/>
                  <a:pt x="70656" y="26510"/>
                </a:cubicBezTo>
                <a:cubicBezTo>
                  <a:pt x="73744" y="25134"/>
                  <a:pt x="77353" y="24445"/>
                  <a:pt x="81483" y="24445"/>
                </a:cubicBezTo>
                <a:close/>
                <a:moveTo>
                  <a:pt x="418281" y="11497"/>
                </a:moveTo>
                <a:cubicBezTo>
                  <a:pt x="418951" y="11497"/>
                  <a:pt x="419500" y="11525"/>
                  <a:pt x="419928" y="11581"/>
                </a:cubicBezTo>
                <a:cubicBezTo>
                  <a:pt x="420355" y="11637"/>
                  <a:pt x="420690" y="11730"/>
                  <a:pt x="420932" y="11860"/>
                </a:cubicBezTo>
                <a:cubicBezTo>
                  <a:pt x="421174" y="11990"/>
                  <a:pt x="421351" y="12148"/>
                  <a:pt x="421462" y="12334"/>
                </a:cubicBezTo>
                <a:cubicBezTo>
                  <a:pt x="421574" y="12521"/>
                  <a:pt x="421630" y="12725"/>
                  <a:pt x="421630" y="12948"/>
                </a:cubicBezTo>
                <a:lnTo>
                  <a:pt x="421630" y="25338"/>
                </a:lnTo>
                <a:lnTo>
                  <a:pt x="435582" y="25338"/>
                </a:lnTo>
                <a:cubicBezTo>
                  <a:pt x="435843" y="25338"/>
                  <a:pt x="436075" y="25394"/>
                  <a:pt x="436280" y="25506"/>
                </a:cubicBezTo>
                <a:cubicBezTo>
                  <a:pt x="436485" y="25617"/>
                  <a:pt x="436661" y="25794"/>
                  <a:pt x="436810" y="26036"/>
                </a:cubicBezTo>
                <a:cubicBezTo>
                  <a:pt x="436959" y="26278"/>
                  <a:pt x="437071" y="26575"/>
                  <a:pt x="437145" y="26929"/>
                </a:cubicBezTo>
                <a:cubicBezTo>
                  <a:pt x="437220" y="27282"/>
                  <a:pt x="437257" y="27701"/>
                  <a:pt x="437257" y="28185"/>
                </a:cubicBezTo>
                <a:cubicBezTo>
                  <a:pt x="437257" y="29115"/>
                  <a:pt x="437099" y="29812"/>
                  <a:pt x="436782" y="30278"/>
                </a:cubicBezTo>
                <a:cubicBezTo>
                  <a:pt x="436466" y="30743"/>
                  <a:pt x="436066" y="30975"/>
                  <a:pt x="435582" y="30975"/>
                </a:cubicBezTo>
                <a:lnTo>
                  <a:pt x="421630" y="30975"/>
                </a:lnTo>
                <a:lnTo>
                  <a:pt x="421630" y="61504"/>
                </a:lnTo>
                <a:cubicBezTo>
                  <a:pt x="421630" y="65336"/>
                  <a:pt x="422179" y="68257"/>
                  <a:pt x="423276" y="70266"/>
                </a:cubicBezTo>
                <a:cubicBezTo>
                  <a:pt x="424374" y="72275"/>
                  <a:pt x="426374" y="73280"/>
                  <a:pt x="429276" y="73280"/>
                </a:cubicBezTo>
                <a:cubicBezTo>
                  <a:pt x="430169" y="73280"/>
                  <a:pt x="430978" y="73187"/>
                  <a:pt x="431704" y="73001"/>
                </a:cubicBezTo>
                <a:cubicBezTo>
                  <a:pt x="432429" y="72815"/>
                  <a:pt x="433071" y="72610"/>
                  <a:pt x="433629" y="72387"/>
                </a:cubicBezTo>
                <a:cubicBezTo>
                  <a:pt x="434187" y="72163"/>
                  <a:pt x="434662" y="71959"/>
                  <a:pt x="435052" y="71773"/>
                </a:cubicBezTo>
                <a:cubicBezTo>
                  <a:pt x="435443" y="71587"/>
                  <a:pt x="435787" y="71494"/>
                  <a:pt x="436085" y="71494"/>
                </a:cubicBezTo>
                <a:cubicBezTo>
                  <a:pt x="436271" y="71494"/>
                  <a:pt x="436438" y="71531"/>
                  <a:pt x="436587" y="71605"/>
                </a:cubicBezTo>
                <a:cubicBezTo>
                  <a:pt x="436736" y="71680"/>
                  <a:pt x="436857" y="71819"/>
                  <a:pt x="436950" y="72024"/>
                </a:cubicBezTo>
                <a:cubicBezTo>
                  <a:pt x="437043" y="72229"/>
                  <a:pt x="437117" y="72489"/>
                  <a:pt x="437173" y="72805"/>
                </a:cubicBezTo>
                <a:cubicBezTo>
                  <a:pt x="437229" y="73121"/>
                  <a:pt x="437257" y="73521"/>
                  <a:pt x="437257" y="74005"/>
                </a:cubicBezTo>
                <a:cubicBezTo>
                  <a:pt x="437257" y="74787"/>
                  <a:pt x="437192" y="75419"/>
                  <a:pt x="437061" y="75903"/>
                </a:cubicBezTo>
                <a:cubicBezTo>
                  <a:pt x="436931" y="76386"/>
                  <a:pt x="436727" y="76768"/>
                  <a:pt x="436447" y="77047"/>
                </a:cubicBezTo>
                <a:cubicBezTo>
                  <a:pt x="436168" y="77326"/>
                  <a:pt x="435759" y="77586"/>
                  <a:pt x="435220" y="77828"/>
                </a:cubicBezTo>
                <a:cubicBezTo>
                  <a:pt x="434680" y="78070"/>
                  <a:pt x="434057" y="78275"/>
                  <a:pt x="433350" y="78442"/>
                </a:cubicBezTo>
                <a:cubicBezTo>
                  <a:pt x="432643" y="78610"/>
                  <a:pt x="431899" y="78740"/>
                  <a:pt x="431118" y="78833"/>
                </a:cubicBezTo>
                <a:cubicBezTo>
                  <a:pt x="430336" y="78926"/>
                  <a:pt x="429573" y="78972"/>
                  <a:pt x="428829" y="78972"/>
                </a:cubicBezTo>
                <a:cubicBezTo>
                  <a:pt x="426336" y="78972"/>
                  <a:pt x="424216" y="78637"/>
                  <a:pt x="422467" y="77968"/>
                </a:cubicBezTo>
                <a:cubicBezTo>
                  <a:pt x="420718" y="77298"/>
                  <a:pt x="419286" y="76284"/>
                  <a:pt x="418170" y="74926"/>
                </a:cubicBezTo>
                <a:cubicBezTo>
                  <a:pt x="417053" y="73568"/>
                  <a:pt x="416244" y="71847"/>
                  <a:pt x="415742" y="69764"/>
                </a:cubicBezTo>
                <a:cubicBezTo>
                  <a:pt x="415239" y="67680"/>
                  <a:pt x="414988" y="65224"/>
                  <a:pt x="414988" y="62397"/>
                </a:cubicBezTo>
                <a:lnTo>
                  <a:pt x="414988" y="30975"/>
                </a:lnTo>
                <a:lnTo>
                  <a:pt x="407454" y="30975"/>
                </a:lnTo>
                <a:cubicBezTo>
                  <a:pt x="406933" y="30975"/>
                  <a:pt x="406524" y="30743"/>
                  <a:pt x="406226" y="30278"/>
                </a:cubicBezTo>
                <a:cubicBezTo>
                  <a:pt x="405928" y="29812"/>
                  <a:pt x="405780" y="29115"/>
                  <a:pt x="405780" y="28185"/>
                </a:cubicBezTo>
                <a:cubicBezTo>
                  <a:pt x="405780" y="27701"/>
                  <a:pt x="405817" y="27282"/>
                  <a:pt x="405891" y="26929"/>
                </a:cubicBezTo>
                <a:cubicBezTo>
                  <a:pt x="405966" y="26575"/>
                  <a:pt x="406077" y="26278"/>
                  <a:pt x="406226" y="26036"/>
                </a:cubicBezTo>
                <a:cubicBezTo>
                  <a:pt x="406375" y="25794"/>
                  <a:pt x="406552" y="25617"/>
                  <a:pt x="406756" y="25506"/>
                </a:cubicBezTo>
                <a:cubicBezTo>
                  <a:pt x="406961" y="25394"/>
                  <a:pt x="407193" y="25338"/>
                  <a:pt x="407454" y="25338"/>
                </a:cubicBezTo>
                <a:lnTo>
                  <a:pt x="414988" y="25338"/>
                </a:lnTo>
                <a:lnTo>
                  <a:pt x="414988" y="12948"/>
                </a:lnTo>
                <a:cubicBezTo>
                  <a:pt x="414988" y="12725"/>
                  <a:pt x="415035" y="12521"/>
                  <a:pt x="415128" y="12334"/>
                </a:cubicBezTo>
                <a:cubicBezTo>
                  <a:pt x="415221" y="12148"/>
                  <a:pt x="415398" y="11990"/>
                  <a:pt x="415658" y="11860"/>
                </a:cubicBezTo>
                <a:cubicBezTo>
                  <a:pt x="415919" y="11730"/>
                  <a:pt x="416263" y="11637"/>
                  <a:pt x="416691" y="11581"/>
                </a:cubicBezTo>
                <a:cubicBezTo>
                  <a:pt x="417118" y="11525"/>
                  <a:pt x="417649" y="11497"/>
                  <a:pt x="418281" y="11497"/>
                </a:cubicBezTo>
                <a:close/>
                <a:moveTo>
                  <a:pt x="30751" y="5191"/>
                </a:moveTo>
                <a:cubicBezTo>
                  <a:pt x="32909" y="5191"/>
                  <a:pt x="35002" y="5395"/>
                  <a:pt x="37030" y="5805"/>
                </a:cubicBezTo>
                <a:cubicBezTo>
                  <a:pt x="39058" y="6214"/>
                  <a:pt x="40927" y="6735"/>
                  <a:pt x="42639" y="7367"/>
                </a:cubicBezTo>
                <a:cubicBezTo>
                  <a:pt x="44351" y="8000"/>
                  <a:pt x="45885" y="8725"/>
                  <a:pt x="47243" y="9544"/>
                </a:cubicBezTo>
                <a:cubicBezTo>
                  <a:pt x="48601" y="10363"/>
                  <a:pt x="49532" y="11023"/>
                  <a:pt x="50034" y="11525"/>
                </a:cubicBezTo>
                <a:cubicBezTo>
                  <a:pt x="50536" y="12028"/>
                  <a:pt x="50852" y="12390"/>
                  <a:pt x="50983" y="12614"/>
                </a:cubicBezTo>
                <a:cubicBezTo>
                  <a:pt x="51113" y="12837"/>
                  <a:pt x="51215" y="13088"/>
                  <a:pt x="51290" y="13367"/>
                </a:cubicBezTo>
                <a:cubicBezTo>
                  <a:pt x="51364" y="13646"/>
                  <a:pt x="51420" y="13962"/>
                  <a:pt x="51457" y="14316"/>
                </a:cubicBezTo>
                <a:cubicBezTo>
                  <a:pt x="51494" y="14669"/>
                  <a:pt x="51513" y="15069"/>
                  <a:pt x="51513" y="15516"/>
                </a:cubicBezTo>
                <a:cubicBezTo>
                  <a:pt x="51513" y="16037"/>
                  <a:pt x="51485" y="16492"/>
                  <a:pt x="51429" y="16883"/>
                </a:cubicBezTo>
                <a:cubicBezTo>
                  <a:pt x="51373" y="17274"/>
                  <a:pt x="51280" y="17609"/>
                  <a:pt x="51150" y="17888"/>
                </a:cubicBezTo>
                <a:cubicBezTo>
                  <a:pt x="51020" y="18167"/>
                  <a:pt x="50862" y="18381"/>
                  <a:pt x="50676" y="18529"/>
                </a:cubicBezTo>
                <a:cubicBezTo>
                  <a:pt x="50490" y="18678"/>
                  <a:pt x="50266" y="18753"/>
                  <a:pt x="50006" y="18753"/>
                </a:cubicBezTo>
                <a:cubicBezTo>
                  <a:pt x="49485" y="18753"/>
                  <a:pt x="48750" y="18371"/>
                  <a:pt x="47801" y="17609"/>
                </a:cubicBezTo>
                <a:cubicBezTo>
                  <a:pt x="46853" y="16846"/>
                  <a:pt x="45606" y="15999"/>
                  <a:pt x="44062" y="15069"/>
                </a:cubicBezTo>
                <a:cubicBezTo>
                  <a:pt x="42518" y="14139"/>
                  <a:pt x="40630" y="13293"/>
                  <a:pt x="38397" y="12530"/>
                </a:cubicBezTo>
                <a:cubicBezTo>
                  <a:pt x="36165" y="11767"/>
                  <a:pt x="33505" y="11386"/>
                  <a:pt x="30416" y="11386"/>
                </a:cubicBezTo>
                <a:cubicBezTo>
                  <a:pt x="27031" y="11386"/>
                  <a:pt x="23924" y="12065"/>
                  <a:pt x="21096" y="13423"/>
                </a:cubicBezTo>
                <a:cubicBezTo>
                  <a:pt x="18269" y="14781"/>
                  <a:pt x="15841" y="16781"/>
                  <a:pt x="13813" y="19422"/>
                </a:cubicBezTo>
                <a:cubicBezTo>
                  <a:pt x="11785" y="22064"/>
                  <a:pt x="10204" y="25320"/>
                  <a:pt x="9069" y="29189"/>
                </a:cubicBezTo>
                <a:cubicBezTo>
                  <a:pt x="7934" y="33059"/>
                  <a:pt x="7367" y="37505"/>
                  <a:pt x="7367" y="42528"/>
                </a:cubicBezTo>
                <a:cubicBezTo>
                  <a:pt x="7367" y="47328"/>
                  <a:pt x="7888" y="51588"/>
                  <a:pt x="8930" y="55309"/>
                </a:cubicBezTo>
                <a:cubicBezTo>
                  <a:pt x="9971" y="59029"/>
                  <a:pt x="11478" y="62164"/>
                  <a:pt x="13450" y="64713"/>
                </a:cubicBezTo>
                <a:cubicBezTo>
                  <a:pt x="15422" y="67261"/>
                  <a:pt x="17859" y="69205"/>
                  <a:pt x="20762" y="70545"/>
                </a:cubicBezTo>
                <a:cubicBezTo>
                  <a:pt x="23664" y="71884"/>
                  <a:pt x="26956" y="72554"/>
                  <a:pt x="30640" y="72554"/>
                </a:cubicBezTo>
                <a:cubicBezTo>
                  <a:pt x="33653" y="72554"/>
                  <a:pt x="36286" y="72173"/>
                  <a:pt x="38537" y="71410"/>
                </a:cubicBezTo>
                <a:cubicBezTo>
                  <a:pt x="40788" y="70647"/>
                  <a:pt x="42713" y="69801"/>
                  <a:pt x="44313" y="68871"/>
                </a:cubicBezTo>
                <a:cubicBezTo>
                  <a:pt x="45913" y="67940"/>
                  <a:pt x="47225" y="67094"/>
                  <a:pt x="48248" y="66331"/>
                </a:cubicBezTo>
                <a:cubicBezTo>
                  <a:pt x="49271" y="65568"/>
                  <a:pt x="50062" y="65187"/>
                  <a:pt x="50620" y="65187"/>
                </a:cubicBezTo>
                <a:cubicBezTo>
                  <a:pt x="50843" y="65187"/>
                  <a:pt x="51029" y="65234"/>
                  <a:pt x="51178" y="65327"/>
                </a:cubicBezTo>
                <a:cubicBezTo>
                  <a:pt x="51327" y="65420"/>
                  <a:pt x="51448" y="65587"/>
                  <a:pt x="51541" y="65829"/>
                </a:cubicBezTo>
                <a:cubicBezTo>
                  <a:pt x="51634" y="66071"/>
                  <a:pt x="51708" y="66396"/>
                  <a:pt x="51764" y="66806"/>
                </a:cubicBezTo>
                <a:cubicBezTo>
                  <a:pt x="51820" y="67215"/>
                  <a:pt x="51848" y="67717"/>
                  <a:pt x="51848" y="68312"/>
                </a:cubicBezTo>
                <a:cubicBezTo>
                  <a:pt x="51848" y="68722"/>
                  <a:pt x="51829" y="69094"/>
                  <a:pt x="51792" y="69429"/>
                </a:cubicBezTo>
                <a:cubicBezTo>
                  <a:pt x="51755" y="69764"/>
                  <a:pt x="51699" y="70061"/>
                  <a:pt x="51625" y="70322"/>
                </a:cubicBezTo>
                <a:cubicBezTo>
                  <a:pt x="51550" y="70582"/>
                  <a:pt x="51448" y="70824"/>
                  <a:pt x="51318" y="71047"/>
                </a:cubicBezTo>
                <a:cubicBezTo>
                  <a:pt x="51187" y="71270"/>
                  <a:pt x="50945" y="71559"/>
                  <a:pt x="50592" y="71912"/>
                </a:cubicBezTo>
                <a:cubicBezTo>
                  <a:pt x="50239" y="72266"/>
                  <a:pt x="49466" y="72842"/>
                  <a:pt x="48276" y="73642"/>
                </a:cubicBezTo>
                <a:cubicBezTo>
                  <a:pt x="47085" y="74442"/>
                  <a:pt x="45588" y="75233"/>
                  <a:pt x="43783" y="76014"/>
                </a:cubicBezTo>
                <a:cubicBezTo>
                  <a:pt x="41979" y="76796"/>
                  <a:pt x="39904" y="77465"/>
                  <a:pt x="37560" y="78024"/>
                </a:cubicBezTo>
                <a:cubicBezTo>
                  <a:pt x="35216" y="78582"/>
                  <a:pt x="32630" y="78861"/>
                  <a:pt x="29803" y="78861"/>
                </a:cubicBezTo>
                <a:cubicBezTo>
                  <a:pt x="25263" y="78861"/>
                  <a:pt x="21152" y="78070"/>
                  <a:pt x="17469" y="76489"/>
                </a:cubicBezTo>
                <a:cubicBezTo>
                  <a:pt x="13785" y="74907"/>
                  <a:pt x="10651" y="72591"/>
                  <a:pt x="8065" y="69540"/>
                </a:cubicBezTo>
                <a:cubicBezTo>
                  <a:pt x="5479" y="66489"/>
                  <a:pt x="3488" y="62731"/>
                  <a:pt x="2093" y="58267"/>
                </a:cubicBezTo>
                <a:cubicBezTo>
                  <a:pt x="698" y="53802"/>
                  <a:pt x="0" y="48704"/>
                  <a:pt x="0" y="42974"/>
                </a:cubicBezTo>
                <a:cubicBezTo>
                  <a:pt x="0" y="37096"/>
                  <a:pt x="744" y="31822"/>
                  <a:pt x="2232" y="27152"/>
                </a:cubicBezTo>
                <a:cubicBezTo>
                  <a:pt x="3721" y="22483"/>
                  <a:pt x="5814" y="18520"/>
                  <a:pt x="8511" y="15265"/>
                </a:cubicBezTo>
                <a:cubicBezTo>
                  <a:pt x="11209" y="12009"/>
                  <a:pt x="14446" y="9516"/>
                  <a:pt x="18222" y="7786"/>
                </a:cubicBezTo>
                <a:cubicBezTo>
                  <a:pt x="21999" y="6056"/>
                  <a:pt x="26175" y="5191"/>
                  <a:pt x="30751" y="5191"/>
                </a:cubicBezTo>
                <a:close/>
                <a:moveTo>
                  <a:pt x="454372" y="4968"/>
                </a:moveTo>
                <a:cubicBezTo>
                  <a:pt x="456009" y="4968"/>
                  <a:pt x="457135" y="5274"/>
                  <a:pt x="457749" y="5888"/>
                </a:cubicBezTo>
                <a:cubicBezTo>
                  <a:pt x="458362" y="6502"/>
                  <a:pt x="458669" y="7702"/>
                  <a:pt x="458669" y="9488"/>
                </a:cubicBezTo>
                <a:cubicBezTo>
                  <a:pt x="458669" y="11274"/>
                  <a:pt x="458353" y="12483"/>
                  <a:pt x="457721" y="13116"/>
                </a:cubicBezTo>
                <a:cubicBezTo>
                  <a:pt x="457088" y="13748"/>
                  <a:pt x="455935" y="14065"/>
                  <a:pt x="454260" y="14065"/>
                </a:cubicBezTo>
                <a:cubicBezTo>
                  <a:pt x="452623" y="14065"/>
                  <a:pt x="451498" y="13758"/>
                  <a:pt x="450884" y="13144"/>
                </a:cubicBezTo>
                <a:cubicBezTo>
                  <a:pt x="450270" y="12530"/>
                  <a:pt x="449963" y="11330"/>
                  <a:pt x="449963" y="9544"/>
                </a:cubicBezTo>
                <a:cubicBezTo>
                  <a:pt x="449963" y="7758"/>
                  <a:pt x="450279" y="6549"/>
                  <a:pt x="450912" y="5916"/>
                </a:cubicBezTo>
                <a:cubicBezTo>
                  <a:pt x="451544" y="5284"/>
                  <a:pt x="452698" y="4968"/>
                  <a:pt x="454372" y="4968"/>
                </a:cubicBezTo>
                <a:close/>
                <a:moveTo>
                  <a:pt x="216247" y="4968"/>
                </a:moveTo>
                <a:cubicBezTo>
                  <a:pt x="217884" y="4968"/>
                  <a:pt x="219010" y="5274"/>
                  <a:pt x="219624" y="5888"/>
                </a:cubicBezTo>
                <a:cubicBezTo>
                  <a:pt x="220237" y="6502"/>
                  <a:pt x="220544" y="7702"/>
                  <a:pt x="220544" y="9488"/>
                </a:cubicBezTo>
                <a:cubicBezTo>
                  <a:pt x="220544" y="11274"/>
                  <a:pt x="220228" y="12483"/>
                  <a:pt x="219596" y="13116"/>
                </a:cubicBezTo>
                <a:cubicBezTo>
                  <a:pt x="218963" y="13748"/>
                  <a:pt x="217810" y="14065"/>
                  <a:pt x="216135" y="14065"/>
                </a:cubicBezTo>
                <a:cubicBezTo>
                  <a:pt x="214498" y="14065"/>
                  <a:pt x="213373" y="13758"/>
                  <a:pt x="212759" y="13144"/>
                </a:cubicBezTo>
                <a:cubicBezTo>
                  <a:pt x="212145" y="12530"/>
                  <a:pt x="211838" y="11330"/>
                  <a:pt x="211838" y="9544"/>
                </a:cubicBezTo>
                <a:cubicBezTo>
                  <a:pt x="211838" y="7758"/>
                  <a:pt x="212154" y="6549"/>
                  <a:pt x="212787" y="5916"/>
                </a:cubicBezTo>
                <a:cubicBezTo>
                  <a:pt x="213419" y="5284"/>
                  <a:pt x="214573" y="4968"/>
                  <a:pt x="216247" y="4968"/>
                </a:cubicBezTo>
                <a:close/>
                <a:moveTo>
                  <a:pt x="278866" y="614"/>
                </a:moveTo>
                <a:cubicBezTo>
                  <a:pt x="279536" y="614"/>
                  <a:pt x="280085" y="651"/>
                  <a:pt x="280513" y="726"/>
                </a:cubicBezTo>
                <a:cubicBezTo>
                  <a:pt x="280941" y="800"/>
                  <a:pt x="281276" y="893"/>
                  <a:pt x="281517" y="1005"/>
                </a:cubicBezTo>
                <a:cubicBezTo>
                  <a:pt x="281759" y="1117"/>
                  <a:pt x="281936" y="1265"/>
                  <a:pt x="282048" y="1451"/>
                </a:cubicBezTo>
                <a:cubicBezTo>
                  <a:pt x="282159" y="1637"/>
                  <a:pt x="282215" y="1842"/>
                  <a:pt x="282215" y="2065"/>
                </a:cubicBezTo>
                <a:lnTo>
                  <a:pt x="282215" y="77019"/>
                </a:lnTo>
                <a:cubicBezTo>
                  <a:pt x="282215" y="77279"/>
                  <a:pt x="282169" y="77503"/>
                  <a:pt x="282076" y="77689"/>
                </a:cubicBezTo>
                <a:cubicBezTo>
                  <a:pt x="281983" y="77875"/>
                  <a:pt x="281815" y="78024"/>
                  <a:pt x="281573" y="78135"/>
                </a:cubicBezTo>
                <a:cubicBezTo>
                  <a:pt x="281331" y="78247"/>
                  <a:pt x="281024" y="78330"/>
                  <a:pt x="280652" y="78386"/>
                </a:cubicBezTo>
                <a:cubicBezTo>
                  <a:pt x="280280" y="78442"/>
                  <a:pt x="279815" y="78470"/>
                  <a:pt x="279257" y="78470"/>
                </a:cubicBezTo>
                <a:cubicBezTo>
                  <a:pt x="278662" y="78470"/>
                  <a:pt x="278169" y="78442"/>
                  <a:pt x="277778" y="78386"/>
                </a:cubicBezTo>
                <a:cubicBezTo>
                  <a:pt x="277387" y="78330"/>
                  <a:pt x="277071" y="78247"/>
                  <a:pt x="276829" y="78135"/>
                </a:cubicBezTo>
                <a:cubicBezTo>
                  <a:pt x="276587" y="78024"/>
                  <a:pt x="276401" y="77875"/>
                  <a:pt x="276271" y="77689"/>
                </a:cubicBezTo>
                <a:cubicBezTo>
                  <a:pt x="276141" y="77503"/>
                  <a:pt x="276076" y="77279"/>
                  <a:pt x="276076" y="77019"/>
                </a:cubicBezTo>
                <a:lnTo>
                  <a:pt x="276076" y="69764"/>
                </a:lnTo>
                <a:cubicBezTo>
                  <a:pt x="273397" y="72666"/>
                  <a:pt x="270625" y="74945"/>
                  <a:pt x="267760" y="76600"/>
                </a:cubicBezTo>
                <a:cubicBezTo>
                  <a:pt x="264895" y="78256"/>
                  <a:pt x="261770" y="79084"/>
                  <a:pt x="258384" y="79084"/>
                </a:cubicBezTo>
                <a:cubicBezTo>
                  <a:pt x="254738" y="79084"/>
                  <a:pt x="251631" y="78377"/>
                  <a:pt x="249064" y="76963"/>
                </a:cubicBezTo>
                <a:cubicBezTo>
                  <a:pt x="246496" y="75549"/>
                  <a:pt x="244403" y="73633"/>
                  <a:pt x="242785" y="71215"/>
                </a:cubicBezTo>
                <a:cubicBezTo>
                  <a:pt x="241166" y="68796"/>
                  <a:pt x="239985" y="65959"/>
                  <a:pt x="239241" y="62704"/>
                </a:cubicBezTo>
                <a:cubicBezTo>
                  <a:pt x="238497" y="59448"/>
                  <a:pt x="238125" y="55997"/>
                  <a:pt x="238125" y="52351"/>
                </a:cubicBezTo>
                <a:cubicBezTo>
                  <a:pt x="238125" y="48072"/>
                  <a:pt x="238590" y="44212"/>
                  <a:pt x="239520" y="40770"/>
                </a:cubicBezTo>
                <a:cubicBezTo>
                  <a:pt x="240450" y="37328"/>
                  <a:pt x="241827" y="34398"/>
                  <a:pt x="243650" y="31980"/>
                </a:cubicBezTo>
                <a:cubicBezTo>
                  <a:pt x="245473" y="29561"/>
                  <a:pt x="247724" y="27701"/>
                  <a:pt x="250403" y="26399"/>
                </a:cubicBezTo>
                <a:cubicBezTo>
                  <a:pt x="253082" y="25097"/>
                  <a:pt x="256189" y="24445"/>
                  <a:pt x="259723" y="24445"/>
                </a:cubicBezTo>
                <a:cubicBezTo>
                  <a:pt x="262774" y="24445"/>
                  <a:pt x="265565" y="25124"/>
                  <a:pt x="268095" y="26482"/>
                </a:cubicBezTo>
                <a:cubicBezTo>
                  <a:pt x="270625" y="27841"/>
                  <a:pt x="273118" y="29840"/>
                  <a:pt x="275574" y="32482"/>
                </a:cubicBezTo>
                <a:lnTo>
                  <a:pt x="275574" y="2065"/>
                </a:lnTo>
                <a:cubicBezTo>
                  <a:pt x="275574" y="1842"/>
                  <a:pt x="275620" y="1637"/>
                  <a:pt x="275713" y="1451"/>
                </a:cubicBezTo>
                <a:cubicBezTo>
                  <a:pt x="275806" y="1265"/>
                  <a:pt x="275983" y="1117"/>
                  <a:pt x="276243" y="1005"/>
                </a:cubicBezTo>
                <a:cubicBezTo>
                  <a:pt x="276504" y="893"/>
                  <a:pt x="276848" y="800"/>
                  <a:pt x="277276" y="726"/>
                </a:cubicBezTo>
                <a:cubicBezTo>
                  <a:pt x="277704" y="651"/>
                  <a:pt x="278234" y="614"/>
                  <a:pt x="278866" y="614"/>
                </a:cubicBezTo>
                <a:close/>
                <a:moveTo>
                  <a:pt x="540041" y="335"/>
                </a:moveTo>
                <a:cubicBezTo>
                  <a:pt x="540711" y="335"/>
                  <a:pt x="541260" y="363"/>
                  <a:pt x="541688" y="419"/>
                </a:cubicBezTo>
                <a:cubicBezTo>
                  <a:pt x="542115" y="475"/>
                  <a:pt x="542450" y="568"/>
                  <a:pt x="542692" y="698"/>
                </a:cubicBezTo>
                <a:cubicBezTo>
                  <a:pt x="542934" y="828"/>
                  <a:pt x="543111" y="986"/>
                  <a:pt x="543222" y="1172"/>
                </a:cubicBezTo>
                <a:cubicBezTo>
                  <a:pt x="543334" y="1358"/>
                  <a:pt x="543390" y="1563"/>
                  <a:pt x="543390" y="1786"/>
                </a:cubicBezTo>
                <a:lnTo>
                  <a:pt x="543390" y="77019"/>
                </a:lnTo>
                <a:cubicBezTo>
                  <a:pt x="543390" y="77242"/>
                  <a:pt x="543334" y="77447"/>
                  <a:pt x="543222" y="77633"/>
                </a:cubicBezTo>
                <a:cubicBezTo>
                  <a:pt x="543111" y="77819"/>
                  <a:pt x="542934" y="77968"/>
                  <a:pt x="542692" y="78079"/>
                </a:cubicBezTo>
                <a:cubicBezTo>
                  <a:pt x="542450" y="78191"/>
                  <a:pt x="542115" y="78284"/>
                  <a:pt x="541688" y="78358"/>
                </a:cubicBezTo>
                <a:cubicBezTo>
                  <a:pt x="541260" y="78433"/>
                  <a:pt x="540711" y="78470"/>
                  <a:pt x="540041" y="78470"/>
                </a:cubicBezTo>
                <a:cubicBezTo>
                  <a:pt x="539409" y="78470"/>
                  <a:pt x="538878" y="78433"/>
                  <a:pt x="538451" y="78358"/>
                </a:cubicBezTo>
                <a:cubicBezTo>
                  <a:pt x="538023" y="78284"/>
                  <a:pt x="537679" y="78191"/>
                  <a:pt x="537418" y="78079"/>
                </a:cubicBezTo>
                <a:cubicBezTo>
                  <a:pt x="537158" y="77968"/>
                  <a:pt x="536981" y="77819"/>
                  <a:pt x="536888" y="77633"/>
                </a:cubicBezTo>
                <a:cubicBezTo>
                  <a:pt x="536795" y="77447"/>
                  <a:pt x="536748" y="77242"/>
                  <a:pt x="536748" y="77019"/>
                </a:cubicBezTo>
                <a:lnTo>
                  <a:pt x="536748" y="1786"/>
                </a:lnTo>
                <a:cubicBezTo>
                  <a:pt x="536748" y="1563"/>
                  <a:pt x="536795" y="1358"/>
                  <a:pt x="536888" y="1172"/>
                </a:cubicBezTo>
                <a:cubicBezTo>
                  <a:pt x="536981" y="986"/>
                  <a:pt x="537158" y="828"/>
                  <a:pt x="537418" y="698"/>
                </a:cubicBezTo>
                <a:cubicBezTo>
                  <a:pt x="537679" y="568"/>
                  <a:pt x="538023" y="475"/>
                  <a:pt x="538451" y="419"/>
                </a:cubicBezTo>
                <a:cubicBezTo>
                  <a:pt x="538878" y="363"/>
                  <a:pt x="539409" y="335"/>
                  <a:pt x="540041" y="335"/>
                </a:cubicBezTo>
                <a:close/>
                <a:moveTo>
                  <a:pt x="192490" y="0"/>
                </a:moveTo>
                <a:cubicBezTo>
                  <a:pt x="193755" y="0"/>
                  <a:pt x="194983" y="121"/>
                  <a:pt x="196174" y="363"/>
                </a:cubicBezTo>
                <a:cubicBezTo>
                  <a:pt x="197364" y="605"/>
                  <a:pt x="198267" y="865"/>
                  <a:pt x="198881" y="1144"/>
                </a:cubicBezTo>
                <a:cubicBezTo>
                  <a:pt x="199495" y="1424"/>
                  <a:pt x="199904" y="1665"/>
                  <a:pt x="200108" y="1870"/>
                </a:cubicBezTo>
                <a:cubicBezTo>
                  <a:pt x="200313" y="2075"/>
                  <a:pt x="200481" y="2326"/>
                  <a:pt x="200611" y="2623"/>
                </a:cubicBezTo>
                <a:cubicBezTo>
                  <a:pt x="200741" y="2921"/>
                  <a:pt x="200834" y="3265"/>
                  <a:pt x="200890" y="3656"/>
                </a:cubicBezTo>
                <a:cubicBezTo>
                  <a:pt x="200946" y="4047"/>
                  <a:pt x="200974" y="4484"/>
                  <a:pt x="200974" y="4968"/>
                </a:cubicBezTo>
                <a:cubicBezTo>
                  <a:pt x="200974" y="5488"/>
                  <a:pt x="200946" y="5907"/>
                  <a:pt x="200890" y="6223"/>
                </a:cubicBezTo>
                <a:cubicBezTo>
                  <a:pt x="200834" y="6540"/>
                  <a:pt x="200760" y="6791"/>
                  <a:pt x="200667" y="6977"/>
                </a:cubicBezTo>
                <a:cubicBezTo>
                  <a:pt x="200574" y="7163"/>
                  <a:pt x="200462" y="7293"/>
                  <a:pt x="200332" y="7367"/>
                </a:cubicBezTo>
                <a:cubicBezTo>
                  <a:pt x="200201" y="7442"/>
                  <a:pt x="200043" y="7479"/>
                  <a:pt x="199857" y="7479"/>
                </a:cubicBezTo>
                <a:cubicBezTo>
                  <a:pt x="199560" y="7479"/>
                  <a:pt x="199206" y="7386"/>
                  <a:pt x="198797" y="7200"/>
                </a:cubicBezTo>
                <a:cubicBezTo>
                  <a:pt x="198388" y="7014"/>
                  <a:pt x="197876" y="6809"/>
                  <a:pt x="197262" y="6586"/>
                </a:cubicBezTo>
                <a:cubicBezTo>
                  <a:pt x="196648" y="6363"/>
                  <a:pt x="195923" y="6158"/>
                  <a:pt x="195085" y="5972"/>
                </a:cubicBezTo>
                <a:cubicBezTo>
                  <a:pt x="194248" y="5786"/>
                  <a:pt x="193272" y="5693"/>
                  <a:pt x="192155" y="5693"/>
                </a:cubicBezTo>
                <a:cubicBezTo>
                  <a:pt x="190593" y="5693"/>
                  <a:pt x="189272" y="5944"/>
                  <a:pt x="188193" y="6446"/>
                </a:cubicBezTo>
                <a:cubicBezTo>
                  <a:pt x="187114" y="6949"/>
                  <a:pt x="186240" y="7749"/>
                  <a:pt x="185570" y="8846"/>
                </a:cubicBezTo>
                <a:cubicBezTo>
                  <a:pt x="184900" y="9944"/>
                  <a:pt x="184426" y="11358"/>
                  <a:pt x="184147" y="13088"/>
                </a:cubicBezTo>
                <a:cubicBezTo>
                  <a:pt x="183868" y="14818"/>
                  <a:pt x="183728" y="16911"/>
                  <a:pt x="183728" y="19367"/>
                </a:cubicBezTo>
                <a:lnTo>
                  <a:pt x="183728" y="25338"/>
                </a:lnTo>
                <a:lnTo>
                  <a:pt x="196118" y="25338"/>
                </a:lnTo>
                <a:cubicBezTo>
                  <a:pt x="196378" y="25338"/>
                  <a:pt x="196602" y="25394"/>
                  <a:pt x="196788" y="25506"/>
                </a:cubicBezTo>
                <a:cubicBezTo>
                  <a:pt x="196974" y="25617"/>
                  <a:pt x="197141" y="25794"/>
                  <a:pt x="197290" y="26036"/>
                </a:cubicBezTo>
                <a:cubicBezTo>
                  <a:pt x="197439" y="26278"/>
                  <a:pt x="197550" y="26575"/>
                  <a:pt x="197625" y="26929"/>
                </a:cubicBezTo>
                <a:cubicBezTo>
                  <a:pt x="197699" y="27282"/>
                  <a:pt x="197737" y="27701"/>
                  <a:pt x="197737" y="28185"/>
                </a:cubicBezTo>
                <a:cubicBezTo>
                  <a:pt x="197737" y="29115"/>
                  <a:pt x="197588" y="29812"/>
                  <a:pt x="197290" y="30278"/>
                </a:cubicBezTo>
                <a:cubicBezTo>
                  <a:pt x="196992" y="30743"/>
                  <a:pt x="196602" y="30975"/>
                  <a:pt x="196118" y="30975"/>
                </a:cubicBezTo>
                <a:lnTo>
                  <a:pt x="183728" y="30975"/>
                </a:lnTo>
                <a:lnTo>
                  <a:pt x="183728" y="77019"/>
                </a:lnTo>
                <a:cubicBezTo>
                  <a:pt x="183728" y="77242"/>
                  <a:pt x="183672" y="77447"/>
                  <a:pt x="183561" y="77633"/>
                </a:cubicBezTo>
                <a:cubicBezTo>
                  <a:pt x="183449" y="77819"/>
                  <a:pt x="183272" y="77968"/>
                  <a:pt x="183030" y="78079"/>
                </a:cubicBezTo>
                <a:cubicBezTo>
                  <a:pt x="182789" y="78191"/>
                  <a:pt x="182444" y="78284"/>
                  <a:pt x="181998" y="78358"/>
                </a:cubicBezTo>
                <a:cubicBezTo>
                  <a:pt x="181551" y="78433"/>
                  <a:pt x="181012" y="78470"/>
                  <a:pt x="180379" y="78470"/>
                </a:cubicBezTo>
                <a:cubicBezTo>
                  <a:pt x="179747" y="78470"/>
                  <a:pt x="179217" y="78433"/>
                  <a:pt x="178789" y="78358"/>
                </a:cubicBezTo>
                <a:cubicBezTo>
                  <a:pt x="178361" y="78284"/>
                  <a:pt x="178017" y="78191"/>
                  <a:pt x="177756" y="78079"/>
                </a:cubicBezTo>
                <a:cubicBezTo>
                  <a:pt x="177496" y="77968"/>
                  <a:pt x="177319" y="77819"/>
                  <a:pt x="177226" y="77633"/>
                </a:cubicBezTo>
                <a:cubicBezTo>
                  <a:pt x="177133" y="77447"/>
                  <a:pt x="177087" y="77242"/>
                  <a:pt x="177087" y="77019"/>
                </a:cubicBezTo>
                <a:lnTo>
                  <a:pt x="177087" y="30975"/>
                </a:lnTo>
                <a:lnTo>
                  <a:pt x="169496" y="30975"/>
                </a:lnTo>
                <a:cubicBezTo>
                  <a:pt x="168975" y="30975"/>
                  <a:pt x="168575" y="30743"/>
                  <a:pt x="168296" y="30278"/>
                </a:cubicBezTo>
                <a:cubicBezTo>
                  <a:pt x="168017" y="29812"/>
                  <a:pt x="167878" y="29115"/>
                  <a:pt x="167878" y="28185"/>
                </a:cubicBezTo>
                <a:cubicBezTo>
                  <a:pt x="167878" y="27701"/>
                  <a:pt x="167915" y="27282"/>
                  <a:pt x="167989" y="26929"/>
                </a:cubicBezTo>
                <a:cubicBezTo>
                  <a:pt x="168064" y="26575"/>
                  <a:pt x="168166" y="26278"/>
                  <a:pt x="168296" y="26036"/>
                </a:cubicBezTo>
                <a:cubicBezTo>
                  <a:pt x="168427" y="25794"/>
                  <a:pt x="168594" y="25617"/>
                  <a:pt x="168799" y="25506"/>
                </a:cubicBezTo>
                <a:cubicBezTo>
                  <a:pt x="169003" y="25394"/>
                  <a:pt x="169236" y="25338"/>
                  <a:pt x="169496" y="25338"/>
                </a:cubicBezTo>
                <a:lnTo>
                  <a:pt x="177087" y="25338"/>
                </a:lnTo>
                <a:lnTo>
                  <a:pt x="177087" y="19590"/>
                </a:lnTo>
                <a:cubicBezTo>
                  <a:pt x="177087" y="16055"/>
                  <a:pt x="177403" y="13041"/>
                  <a:pt x="178035" y="10549"/>
                </a:cubicBezTo>
                <a:cubicBezTo>
                  <a:pt x="178668" y="8056"/>
                  <a:pt x="179626" y="6028"/>
                  <a:pt x="180910" y="4465"/>
                </a:cubicBezTo>
                <a:cubicBezTo>
                  <a:pt x="182193" y="2903"/>
                  <a:pt x="183803" y="1768"/>
                  <a:pt x="185737" y="1061"/>
                </a:cubicBezTo>
                <a:cubicBezTo>
                  <a:pt x="187672" y="354"/>
                  <a:pt x="189923" y="0"/>
                  <a:pt x="19249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6CD607D-3836-4D1C-9C16-AA89ADAD1BF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55BB96D-1046-4C50-965B-DC42232437E2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467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607175" y="5363918"/>
            <a:ext cx="2133600" cy="23083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4425FD7F-8877-4B28-964B-0937C99B8775}" type="datetime1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3601" y="5359896"/>
            <a:ext cx="574357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476" y="5363918"/>
            <a:ext cx="365125" cy="2308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FF3B3A-7EEA-5E44-8ED8-372942253657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BC523535-663A-4646-B84C-3FF77F34C1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14145" y="2055779"/>
            <a:ext cx="4954621" cy="129161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187E8F9B-5426-E248-B4F9-11DEFA478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684" y="4336678"/>
            <a:ext cx="7016750" cy="49210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ctr" defTabSz="457200" rtl="0" eaLnBrk="1" latinLnBrk="0" hangingPunct="1">
              <a:defRPr lang="en-GB" sz="1500" b="0" i="1" u="none" strike="noStrike" smtClean="0">
                <a:solidFill>
                  <a:srgbClr val="BC0033"/>
                </a:solidFill>
                <a:effectLst/>
                <a:latin typeface="+mn-lt"/>
              </a:defRPr>
            </a:lvl1pPr>
          </a:lstStyle>
          <a:p>
            <a:pPr marL="0" lvl="0" defTabSz="457200"/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If you send this slide out for pre-read, please consider </a:t>
            </a:r>
            <a:b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</a:b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deleting this logo slide to </a:t>
            </a:r>
            <a:r>
              <a:rPr lang="en-GB" b="1" i="0" u="none" strike="noStrike" dirty="0" err="1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avoide</a:t>
            </a:r>
            <a:r>
              <a:rPr lang="en-GB" b="1" i="0" u="none" strike="noStrike" dirty="0">
                <a:solidFill>
                  <a:srgbClr val="FF0000"/>
                </a:solidFill>
                <a:effectLst/>
                <a:latin typeface="Calibri Light" panose="020F0302020204030204" pitchFamily="34" charset="0"/>
              </a:rPr>
              <a:t> unnecessary prints.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60685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phic 11">
            <a:extLst>
              <a:ext uri="{FF2B5EF4-FFF2-40B4-BE49-F238E27FC236}">
                <a16:creationId xmlns:a16="http://schemas.microsoft.com/office/drawing/2014/main" id="{CA149E4D-A159-46C6-9C17-F1ED87A31E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45088"/>
            <a:ext cx="8820000" cy="2776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97379C2-4F0F-41FA-87EA-781256C55F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marL="0" algn="l" defTabSz="457200" rtl="0" eaLnBrk="1" latinLnBrk="0" hangingPunct="1">
              <a:defRPr lang="da-DK" sz="2600" kern="1200" dirty="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7" name="Pladsholder til tekst 16">
            <a:extLst>
              <a:ext uri="{FF2B5EF4-FFF2-40B4-BE49-F238E27FC236}">
                <a16:creationId xmlns:a16="http://schemas.microsoft.com/office/drawing/2014/main" id="{B3A9137C-A1F2-4CBB-8AF4-47A761FCDD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00000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BA1B104-645C-44EB-9418-7D3DF64866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2ECA56FB-6909-40B3-9765-7172315B5898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2894047E-E2DC-45DD-BE78-58E73B12B6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4E68C32C-0042-41D8-AB46-9BFF89790E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212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>
            <a:extLst>
              <a:ext uri="{FF2B5EF4-FFF2-40B4-BE49-F238E27FC236}">
                <a16:creationId xmlns:a16="http://schemas.microsoft.com/office/drawing/2014/main" id="{4E110B07-B6D5-4488-8940-04DB3D16F9CC}"/>
              </a:ext>
            </a:extLst>
          </p:cNvPr>
          <p:cNvSpPr/>
          <p:nvPr userDrawn="1"/>
        </p:nvSpPr>
        <p:spPr>
          <a:xfrm>
            <a:off x="1" y="844911"/>
            <a:ext cx="9143999" cy="4321969"/>
          </a:xfrm>
          <a:prstGeom prst="rect">
            <a:avLst/>
          </a:prstGeom>
          <a:solidFill>
            <a:srgbClr val="009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465C372-8591-436E-ACB2-9295A406D5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205" y="3051594"/>
            <a:ext cx="8820000" cy="27783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9E5588D8-783B-C044-B1DB-7C3DA876B2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911" y="2319988"/>
            <a:ext cx="7016750" cy="38035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 algn="l">
              <a:defRPr lang="da-DK" sz="26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dirty="0"/>
              <a:t>A great headline can be added here</a:t>
            </a:r>
            <a:endParaRPr lang="da-DK" dirty="0"/>
          </a:p>
        </p:txBody>
      </p:sp>
      <p:sp>
        <p:nvSpPr>
          <p:cNvPr id="13" name="Pladsholder til tekst 16">
            <a:extLst>
              <a:ext uri="{FF2B5EF4-FFF2-40B4-BE49-F238E27FC236}">
                <a16:creationId xmlns:a16="http://schemas.microsoft.com/office/drawing/2014/main" id="{4578CB40-67D0-4144-9890-506406FF8B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911" y="2727208"/>
            <a:ext cx="7016750" cy="377217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457200" rtl="0" eaLnBrk="1" latinLnBrk="0" hangingPunct="1"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Add a subtext here if you want to. Could also be the date, place, city and country</a:t>
            </a:r>
            <a:endParaRPr lang="da-DK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EB37CA0-066D-48CF-B582-DF5961C9C5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B3BBBEB-8642-4AD7-8E4F-239A7874FA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Kombinationstegning: figur 4">
            <a:extLst>
              <a:ext uri="{FF2B5EF4-FFF2-40B4-BE49-F238E27FC236}">
                <a16:creationId xmlns:a16="http://schemas.microsoft.com/office/drawing/2014/main" id="{70C90FA4-FACE-EFD8-BCC3-E410FCD28986}"/>
              </a:ext>
            </a:extLst>
          </p:cNvPr>
          <p:cNvSpPr/>
          <p:nvPr userDrawn="1"/>
        </p:nvSpPr>
        <p:spPr>
          <a:xfrm>
            <a:off x="8021030" y="4760047"/>
            <a:ext cx="878495" cy="98506"/>
          </a:xfrm>
          <a:custGeom>
            <a:avLst/>
            <a:gdLst/>
            <a:ahLst/>
            <a:cxnLst/>
            <a:rect l="l" t="t" r="r" b="b"/>
            <a:pathLst>
              <a:path w="878495" h="98506">
                <a:moveTo>
                  <a:pt x="834237" y="53188"/>
                </a:moveTo>
                <a:cubicBezTo>
                  <a:pt x="831558" y="53188"/>
                  <a:pt x="829214" y="53430"/>
                  <a:pt x="827205" y="53913"/>
                </a:cubicBezTo>
                <a:cubicBezTo>
                  <a:pt x="825196" y="54397"/>
                  <a:pt x="823521" y="55104"/>
                  <a:pt x="822182" y="56034"/>
                </a:cubicBezTo>
                <a:cubicBezTo>
                  <a:pt x="820843" y="56964"/>
                  <a:pt x="819847" y="58081"/>
                  <a:pt x="819196" y="59383"/>
                </a:cubicBezTo>
                <a:cubicBezTo>
                  <a:pt x="818545" y="60685"/>
                  <a:pt x="818219" y="62173"/>
                  <a:pt x="818219" y="63848"/>
                </a:cubicBezTo>
                <a:cubicBezTo>
                  <a:pt x="818219" y="66750"/>
                  <a:pt x="819140" y="69066"/>
                  <a:pt x="820982" y="70796"/>
                </a:cubicBezTo>
                <a:cubicBezTo>
                  <a:pt x="822824" y="72526"/>
                  <a:pt x="825419" y="73391"/>
                  <a:pt x="828768" y="73391"/>
                </a:cubicBezTo>
                <a:cubicBezTo>
                  <a:pt x="831409" y="73391"/>
                  <a:pt x="833874" y="72712"/>
                  <a:pt x="836163" y="71354"/>
                </a:cubicBezTo>
                <a:cubicBezTo>
                  <a:pt x="838451" y="69996"/>
                  <a:pt x="840879" y="67903"/>
                  <a:pt x="843446" y="65076"/>
                </a:cubicBezTo>
                <a:lnTo>
                  <a:pt x="843446" y="53188"/>
                </a:lnTo>
                <a:close/>
                <a:moveTo>
                  <a:pt x="416197" y="30250"/>
                </a:moveTo>
                <a:cubicBezTo>
                  <a:pt x="413184" y="30250"/>
                  <a:pt x="410579" y="30789"/>
                  <a:pt x="408384" y="31868"/>
                </a:cubicBezTo>
                <a:cubicBezTo>
                  <a:pt x="406189" y="32947"/>
                  <a:pt x="404393" y="34445"/>
                  <a:pt x="402998" y="36361"/>
                </a:cubicBezTo>
                <a:cubicBezTo>
                  <a:pt x="401603" y="38277"/>
                  <a:pt x="400571" y="40538"/>
                  <a:pt x="399901" y="43142"/>
                </a:cubicBezTo>
                <a:cubicBezTo>
                  <a:pt x="399231" y="45747"/>
                  <a:pt x="398896" y="48556"/>
                  <a:pt x="398896" y="51569"/>
                </a:cubicBezTo>
                <a:cubicBezTo>
                  <a:pt x="398896" y="54472"/>
                  <a:pt x="399175" y="57234"/>
                  <a:pt x="399733" y="59857"/>
                </a:cubicBezTo>
                <a:cubicBezTo>
                  <a:pt x="400291" y="62480"/>
                  <a:pt x="401222" y="64778"/>
                  <a:pt x="402524" y="66750"/>
                </a:cubicBezTo>
                <a:cubicBezTo>
                  <a:pt x="403826" y="68722"/>
                  <a:pt x="405575" y="70285"/>
                  <a:pt x="407770" y="71438"/>
                </a:cubicBezTo>
                <a:cubicBezTo>
                  <a:pt x="409965" y="72591"/>
                  <a:pt x="412700" y="73168"/>
                  <a:pt x="415974" y="73168"/>
                </a:cubicBezTo>
                <a:cubicBezTo>
                  <a:pt x="418988" y="73168"/>
                  <a:pt x="421592" y="72629"/>
                  <a:pt x="423788" y="71550"/>
                </a:cubicBezTo>
                <a:cubicBezTo>
                  <a:pt x="425983" y="70471"/>
                  <a:pt x="427778" y="68982"/>
                  <a:pt x="429173" y="67085"/>
                </a:cubicBezTo>
                <a:cubicBezTo>
                  <a:pt x="430569" y="65187"/>
                  <a:pt x="431601" y="62936"/>
                  <a:pt x="432271" y="60332"/>
                </a:cubicBezTo>
                <a:cubicBezTo>
                  <a:pt x="432941" y="57727"/>
                  <a:pt x="433275" y="54899"/>
                  <a:pt x="433275" y="51848"/>
                </a:cubicBezTo>
                <a:cubicBezTo>
                  <a:pt x="433275" y="48984"/>
                  <a:pt x="432996" y="46249"/>
                  <a:pt x="432438" y="43644"/>
                </a:cubicBezTo>
                <a:cubicBezTo>
                  <a:pt x="431880" y="41040"/>
                  <a:pt x="430950" y="38742"/>
                  <a:pt x="429648" y="36752"/>
                </a:cubicBezTo>
                <a:cubicBezTo>
                  <a:pt x="428346" y="34761"/>
                  <a:pt x="426597" y="33180"/>
                  <a:pt x="424402" y="32008"/>
                </a:cubicBezTo>
                <a:cubicBezTo>
                  <a:pt x="422206" y="30836"/>
                  <a:pt x="419472" y="30250"/>
                  <a:pt x="416197" y="30250"/>
                </a:cubicBezTo>
                <a:close/>
                <a:moveTo>
                  <a:pt x="653150" y="30138"/>
                </a:moveTo>
                <a:cubicBezTo>
                  <a:pt x="650620" y="30138"/>
                  <a:pt x="648397" y="30613"/>
                  <a:pt x="646481" y="31561"/>
                </a:cubicBezTo>
                <a:cubicBezTo>
                  <a:pt x="644565" y="32510"/>
                  <a:pt x="642946" y="33766"/>
                  <a:pt x="641626" y="35329"/>
                </a:cubicBezTo>
                <a:cubicBezTo>
                  <a:pt x="640305" y="36891"/>
                  <a:pt x="639291" y="38705"/>
                  <a:pt x="638584" y="40770"/>
                </a:cubicBezTo>
                <a:cubicBezTo>
                  <a:pt x="637877" y="42835"/>
                  <a:pt x="637468" y="44984"/>
                  <a:pt x="637356" y="47216"/>
                </a:cubicBezTo>
                <a:lnTo>
                  <a:pt x="668052" y="47216"/>
                </a:lnTo>
                <a:cubicBezTo>
                  <a:pt x="668163" y="41858"/>
                  <a:pt x="666936" y="37673"/>
                  <a:pt x="664368" y="34659"/>
                </a:cubicBezTo>
                <a:cubicBezTo>
                  <a:pt x="661801" y="31645"/>
                  <a:pt x="658062" y="30138"/>
                  <a:pt x="653150" y="30138"/>
                </a:cubicBezTo>
                <a:close/>
                <a:moveTo>
                  <a:pt x="594494" y="30138"/>
                </a:moveTo>
                <a:cubicBezTo>
                  <a:pt x="591926" y="30138"/>
                  <a:pt x="589731" y="30752"/>
                  <a:pt x="587908" y="31980"/>
                </a:cubicBezTo>
                <a:cubicBezTo>
                  <a:pt x="586085" y="33208"/>
                  <a:pt x="584596" y="34826"/>
                  <a:pt x="583443" y="36835"/>
                </a:cubicBezTo>
                <a:cubicBezTo>
                  <a:pt x="582290" y="38845"/>
                  <a:pt x="581452" y="41114"/>
                  <a:pt x="580932" y="43644"/>
                </a:cubicBezTo>
                <a:cubicBezTo>
                  <a:pt x="580411" y="46174"/>
                  <a:pt x="580150" y="48742"/>
                  <a:pt x="580150" y="51346"/>
                </a:cubicBezTo>
                <a:cubicBezTo>
                  <a:pt x="580150" y="54137"/>
                  <a:pt x="580373" y="56853"/>
                  <a:pt x="580820" y="59495"/>
                </a:cubicBezTo>
                <a:cubicBezTo>
                  <a:pt x="581266" y="62136"/>
                  <a:pt x="582029" y="64490"/>
                  <a:pt x="583108" y="66555"/>
                </a:cubicBezTo>
                <a:cubicBezTo>
                  <a:pt x="584187" y="68620"/>
                  <a:pt x="585620" y="70275"/>
                  <a:pt x="587406" y="71522"/>
                </a:cubicBezTo>
                <a:cubicBezTo>
                  <a:pt x="589191" y="72768"/>
                  <a:pt x="591424" y="73391"/>
                  <a:pt x="594103" y="73391"/>
                </a:cubicBezTo>
                <a:cubicBezTo>
                  <a:pt x="595442" y="73391"/>
                  <a:pt x="596745" y="73205"/>
                  <a:pt x="598010" y="72833"/>
                </a:cubicBezTo>
                <a:cubicBezTo>
                  <a:pt x="599275" y="72461"/>
                  <a:pt x="600577" y="71847"/>
                  <a:pt x="601916" y="70991"/>
                </a:cubicBezTo>
                <a:cubicBezTo>
                  <a:pt x="603256" y="70136"/>
                  <a:pt x="604642" y="69029"/>
                  <a:pt x="606074" y="67671"/>
                </a:cubicBezTo>
                <a:cubicBezTo>
                  <a:pt x="607507" y="66313"/>
                  <a:pt x="609041" y="64629"/>
                  <a:pt x="610679" y="62620"/>
                </a:cubicBezTo>
                <a:lnTo>
                  <a:pt x="610679" y="40575"/>
                </a:lnTo>
                <a:cubicBezTo>
                  <a:pt x="607888" y="37189"/>
                  <a:pt x="605200" y="34603"/>
                  <a:pt x="602614" y="32817"/>
                </a:cubicBezTo>
                <a:cubicBezTo>
                  <a:pt x="600028" y="31031"/>
                  <a:pt x="597321" y="30138"/>
                  <a:pt x="594494" y="30138"/>
                </a:cubicBezTo>
                <a:close/>
                <a:moveTo>
                  <a:pt x="789421" y="25059"/>
                </a:moveTo>
                <a:cubicBezTo>
                  <a:pt x="790091" y="25059"/>
                  <a:pt x="790640" y="25087"/>
                  <a:pt x="791068" y="25143"/>
                </a:cubicBezTo>
                <a:cubicBezTo>
                  <a:pt x="791495" y="25199"/>
                  <a:pt x="791830" y="25292"/>
                  <a:pt x="792072" y="25422"/>
                </a:cubicBezTo>
                <a:cubicBezTo>
                  <a:pt x="792314" y="25552"/>
                  <a:pt x="792491" y="25711"/>
                  <a:pt x="792602" y="25897"/>
                </a:cubicBezTo>
                <a:cubicBezTo>
                  <a:pt x="792714" y="26083"/>
                  <a:pt x="792770" y="26287"/>
                  <a:pt x="792770" y="26510"/>
                </a:cubicBezTo>
                <a:lnTo>
                  <a:pt x="792770" y="77019"/>
                </a:lnTo>
                <a:cubicBezTo>
                  <a:pt x="792770" y="77242"/>
                  <a:pt x="792714" y="77447"/>
                  <a:pt x="792602" y="77633"/>
                </a:cubicBezTo>
                <a:cubicBezTo>
                  <a:pt x="792491" y="77819"/>
                  <a:pt x="792314" y="77968"/>
                  <a:pt x="792072" y="78079"/>
                </a:cubicBezTo>
                <a:cubicBezTo>
                  <a:pt x="791830" y="78191"/>
                  <a:pt x="791495" y="78284"/>
                  <a:pt x="791068" y="78358"/>
                </a:cubicBezTo>
                <a:cubicBezTo>
                  <a:pt x="790640" y="78433"/>
                  <a:pt x="790091" y="78470"/>
                  <a:pt x="789421" y="78470"/>
                </a:cubicBezTo>
                <a:cubicBezTo>
                  <a:pt x="788789" y="78470"/>
                  <a:pt x="788258" y="78433"/>
                  <a:pt x="787831" y="78358"/>
                </a:cubicBezTo>
                <a:cubicBezTo>
                  <a:pt x="787403" y="78284"/>
                  <a:pt x="787059" y="78191"/>
                  <a:pt x="786798" y="78079"/>
                </a:cubicBezTo>
                <a:cubicBezTo>
                  <a:pt x="786538" y="77968"/>
                  <a:pt x="786361" y="77819"/>
                  <a:pt x="786268" y="77633"/>
                </a:cubicBezTo>
                <a:cubicBezTo>
                  <a:pt x="786175" y="77447"/>
                  <a:pt x="786128" y="77242"/>
                  <a:pt x="786128" y="77019"/>
                </a:cubicBezTo>
                <a:lnTo>
                  <a:pt x="786128" y="26510"/>
                </a:lnTo>
                <a:cubicBezTo>
                  <a:pt x="786128" y="26287"/>
                  <a:pt x="786175" y="26083"/>
                  <a:pt x="786268" y="25897"/>
                </a:cubicBezTo>
                <a:cubicBezTo>
                  <a:pt x="786361" y="25711"/>
                  <a:pt x="786538" y="25552"/>
                  <a:pt x="786798" y="25422"/>
                </a:cubicBezTo>
                <a:cubicBezTo>
                  <a:pt x="787059" y="25292"/>
                  <a:pt x="787403" y="25199"/>
                  <a:pt x="787831" y="25143"/>
                </a:cubicBezTo>
                <a:cubicBezTo>
                  <a:pt x="788258" y="25087"/>
                  <a:pt x="788789" y="25059"/>
                  <a:pt x="789421" y="25059"/>
                </a:cubicBezTo>
                <a:close/>
                <a:moveTo>
                  <a:pt x="551296" y="25059"/>
                </a:moveTo>
                <a:cubicBezTo>
                  <a:pt x="551966" y="25059"/>
                  <a:pt x="552515" y="25087"/>
                  <a:pt x="552943" y="25143"/>
                </a:cubicBezTo>
                <a:cubicBezTo>
                  <a:pt x="553370" y="25199"/>
                  <a:pt x="553705" y="25292"/>
                  <a:pt x="553947" y="25422"/>
                </a:cubicBezTo>
                <a:cubicBezTo>
                  <a:pt x="554189" y="25552"/>
                  <a:pt x="554366" y="25711"/>
                  <a:pt x="554477" y="25897"/>
                </a:cubicBezTo>
                <a:cubicBezTo>
                  <a:pt x="554589" y="26083"/>
                  <a:pt x="554645" y="26287"/>
                  <a:pt x="554645" y="26510"/>
                </a:cubicBezTo>
                <a:lnTo>
                  <a:pt x="554645" y="77019"/>
                </a:lnTo>
                <a:cubicBezTo>
                  <a:pt x="554645" y="77242"/>
                  <a:pt x="554589" y="77447"/>
                  <a:pt x="554477" y="77633"/>
                </a:cubicBezTo>
                <a:cubicBezTo>
                  <a:pt x="554366" y="77819"/>
                  <a:pt x="554189" y="77968"/>
                  <a:pt x="553947" y="78079"/>
                </a:cubicBezTo>
                <a:cubicBezTo>
                  <a:pt x="553705" y="78191"/>
                  <a:pt x="553370" y="78284"/>
                  <a:pt x="552943" y="78358"/>
                </a:cubicBezTo>
                <a:cubicBezTo>
                  <a:pt x="552515" y="78433"/>
                  <a:pt x="551966" y="78470"/>
                  <a:pt x="551296" y="78470"/>
                </a:cubicBezTo>
                <a:cubicBezTo>
                  <a:pt x="550664" y="78470"/>
                  <a:pt x="550133" y="78433"/>
                  <a:pt x="549706" y="78358"/>
                </a:cubicBezTo>
                <a:cubicBezTo>
                  <a:pt x="549278" y="78284"/>
                  <a:pt x="548933" y="78191"/>
                  <a:pt x="548673" y="78079"/>
                </a:cubicBezTo>
                <a:cubicBezTo>
                  <a:pt x="548413" y="77968"/>
                  <a:pt x="548236" y="77819"/>
                  <a:pt x="548143" y="77633"/>
                </a:cubicBezTo>
                <a:cubicBezTo>
                  <a:pt x="548050" y="77447"/>
                  <a:pt x="548003" y="77242"/>
                  <a:pt x="548003" y="77019"/>
                </a:cubicBezTo>
                <a:lnTo>
                  <a:pt x="548003" y="26510"/>
                </a:lnTo>
                <a:cubicBezTo>
                  <a:pt x="548003" y="26287"/>
                  <a:pt x="548050" y="26083"/>
                  <a:pt x="548143" y="25897"/>
                </a:cubicBezTo>
                <a:cubicBezTo>
                  <a:pt x="548236" y="25711"/>
                  <a:pt x="548413" y="25552"/>
                  <a:pt x="548673" y="25422"/>
                </a:cubicBezTo>
                <a:cubicBezTo>
                  <a:pt x="548933" y="25292"/>
                  <a:pt x="549278" y="25199"/>
                  <a:pt x="549706" y="25143"/>
                </a:cubicBezTo>
                <a:cubicBezTo>
                  <a:pt x="550133" y="25087"/>
                  <a:pt x="550664" y="25059"/>
                  <a:pt x="551296" y="25059"/>
                </a:cubicBezTo>
                <a:close/>
                <a:moveTo>
                  <a:pt x="267928" y="25059"/>
                </a:moveTo>
                <a:cubicBezTo>
                  <a:pt x="268746" y="25059"/>
                  <a:pt x="269397" y="25087"/>
                  <a:pt x="269881" y="25143"/>
                </a:cubicBezTo>
                <a:cubicBezTo>
                  <a:pt x="270365" y="25199"/>
                  <a:pt x="270746" y="25283"/>
                  <a:pt x="271025" y="25394"/>
                </a:cubicBezTo>
                <a:cubicBezTo>
                  <a:pt x="271304" y="25506"/>
                  <a:pt x="271509" y="25655"/>
                  <a:pt x="271639" y="25841"/>
                </a:cubicBezTo>
                <a:cubicBezTo>
                  <a:pt x="271769" y="26027"/>
                  <a:pt x="271890" y="26250"/>
                  <a:pt x="272002" y="26510"/>
                </a:cubicBezTo>
                <a:lnTo>
                  <a:pt x="287796" y="70601"/>
                </a:lnTo>
                <a:lnTo>
                  <a:pt x="288019" y="70601"/>
                </a:lnTo>
                <a:lnTo>
                  <a:pt x="303535" y="26510"/>
                </a:lnTo>
                <a:cubicBezTo>
                  <a:pt x="303721" y="25990"/>
                  <a:pt x="303972" y="25645"/>
                  <a:pt x="304288" y="25478"/>
                </a:cubicBezTo>
                <a:cubicBezTo>
                  <a:pt x="304604" y="25311"/>
                  <a:pt x="305023" y="25199"/>
                  <a:pt x="305544" y="25143"/>
                </a:cubicBezTo>
                <a:cubicBezTo>
                  <a:pt x="306065" y="25087"/>
                  <a:pt x="306697" y="25059"/>
                  <a:pt x="307442" y="25059"/>
                </a:cubicBezTo>
                <a:cubicBezTo>
                  <a:pt x="308148" y="25059"/>
                  <a:pt x="308734" y="25097"/>
                  <a:pt x="309200" y="25171"/>
                </a:cubicBezTo>
                <a:cubicBezTo>
                  <a:pt x="309665" y="25245"/>
                  <a:pt x="310009" y="25376"/>
                  <a:pt x="310232" y="25562"/>
                </a:cubicBezTo>
                <a:cubicBezTo>
                  <a:pt x="310455" y="25748"/>
                  <a:pt x="310567" y="25999"/>
                  <a:pt x="310567" y="26315"/>
                </a:cubicBezTo>
                <a:cubicBezTo>
                  <a:pt x="310567" y="26631"/>
                  <a:pt x="310474" y="27031"/>
                  <a:pt x="310288" y="27515"/>
                </a:cubicBezTo>
                <a:lnTo>
                  <a:pt x="291424" y="78135"/>
                </a:lnTo>
                <a:lnTo>
                  <a:pt x="284392" y="97055"/>
                </a:lnTo>
                <a:cubicBezTo>
                  <a:pt x="284206" y="97464"/>
                  <a:pt x="283815" y="97808"/>
                  <a:pt x="283220" y="98088"/>
                </a:cubicBezTo>
                <a:cubicBezTo>
                  <a:pt x="282624" y="98367"/>
                  <a:pt x="281676" y="98506"/>
                  <a:pt x="280373" y="98506"/>
                </a:cubicBezTo>
                <a:cubicBezTo>
                  <a:pt x="279704" y="98506"/>
                  <a:pt x="279146" y="98469"/>
                  <a:pt x="278699" y="98394"/>
                </a:cubicBezTo>
                <a:cubicBezTo>
                  <a:pt x="278253" y="98320"/>
                  <a:pt x="277908" y="98181"/>
                  <a:pt x="277667" y="97976"/>
                </a:cubicBezTo>
                <a:cubicBezTo>
                  <a:pt x="277425" y="97771"/>
                  <a:pt x="277285" y="97511"/>
                  <a:pt x="277248" y="97195"/>
                </a:cubicBezTo>
                <a:cubicBezTo>
                  <a:pt x="277211" y="96878"/>
                  <a:pt x="277285" y="96497"/>
                  <a:pt x="277471" y="96050"/>
                </a:cubicBezTo>
                <a:lnTo>
                  <a:pt x="284615" y="78135"/>
                </a:lnTo>
                <a:cubicBezTo>
                  <a:pt x="284317" y="78024"/>
                  <a:pt x="284057" y="77838"/>
                  <a:pt x="283834" y="77577"/>
                </a:cubicBezTo>
                <a:cubicBezTo>
                  <a:pt x="283610" y="77317"/>
                  <a:pt x="283462" y="77056"/>
                  <a:pt x="283387" y="76796"/>
                </a:cubicBezTo>
                <a:lnTo>
                  <a:pt x="265026" y="27515"/>
                </a:lnTo>
                <a:cubicBezTo>
                  <a:pt x="264840" y="26994"/>
                  <a:pt x="264746" y="26576"/>
                  <a:pt x="264746" y="26259"/>
                </a:cubicBezTo>
                <a:cubicBezTo>
                  <a:pt x="264746" y="25943"/>
                  <a:pt x="264849" y="25692"/>
                  <a:pt x="265053" y="25506"/>
                </a:cubicBezTo>
                <a:cubicBezTo>
                  <a:pt x="265258" y="25320"/>
                  <a:pt x="265593" y="25199"/>
                  <a:pt x="266058" y="25143"/>
                </a:cubicBezTo>
                <a:cubicBezTo>
                  <a:pt x="266523" y="25087"/>
                  <a:pt x="267146" y="25059"/>
                  <a:pt x="267928" y="25059"/>
                </a:cubicBezTo>
                <a:close/>
                <a:moveTo>
                  <a:pt x="132196" y="25059"/>
                </a:moveTo>
                <a:cubicBezTo>
                  <a:pt x="132866" y="25059"/>
                  <a:pt x="133415" y="25087"/>
                  <a:pt x="133843" y="25143"/>
                </a:cubicBezTo>
                <a:cubicBezTo>
                  <a:pt x="134271" y="25199"/>
                  <a:pt x="134606" y="25292"/>
                  <a:pt x="134847" y="25422"/>
                </a:cubicBezTo>
                <a:cubicBezTo>
                  <a:pt x="135089" y="25552"/>
                  <a:pt x="135266" y="25711"/>
                  <a:pt x="135378" y="25897"/>
                </a:cubicBezTo>
                <a:cubicBezTo>
                  <a:pt x="135489" y="26083"/>
                  <a:pt x="135545" y="26287"/>
                  <a:pt x="135545" y="26510"/>
                </a:cubicBezTo>
                <a:lnTo>
                  <a:pt x="135545" y="77019"/>
                </a:lnTo>
                <a:cubicBezTo>
                  <a:pt x="135545" y="77242"/>
                  <a:pt x="135489" y="77447"/>
                  <a:pt x="135378" y="77633"/>
                </a:cubicBezTo>
                <a:cubicBezTo>
                  <a:pt x="135266" y="77819"/>
                  <a:pt x="135089" y="77968"/>
                  <a:pt x="134847" y="78079"/>
                </a:cubicBezTo>
                <a:cubicBezTo>
                  <a:pt x="134606" y="78191"/>
                  <a:pt x="134271" y="78284"/>
                  <a:pt x="133843" y="78358"/>
                </a:cubicBezTo>
                <a:cubicBezTo>
                  <a:pt x="133415" y="78433"/>
                  <a:pt x="132866" y="78470"/>
                  <a:pt x="132196" y="78470"/>
                </a:cubicBezTo>
                <a:cubicBezTo>
                  <a:pt x="131564" y="78470"/>
                  <a:pt x="131034" y="78433"/>
                  <a:pt x="130606" y="78358"/>
                </a:cubicBezTo>
                <a:cubicBezTo>
                  <a:pt x="130178" y="78284"/>
                  <a:pt x="129834" y="78191"/>
                  <a:pt x="129573" y="78079"/>
                </a:cubicBezTo>
                <a:cubicBezTo>
                  <a:pt x="129313" y="77968"/>
                  <a:pt x="129136" y="77819"/>
                  <a:pt x="129043" y="77633"/>
                </a:cubicBezTo>
                <a:cubicBezTo>
                  <a:pt x="128950" y="77447"/>
                  <a:pt x="128904" y="77242"/>
                  <a:pt x="128904" y="77019"/>
                </a:cubicBezTo>
                <a:lnTo>
                  <a:pt x="128904" y="26510"/>
                </a:lnTo>
                <a:cubicBezTo>
                  <a:pt x="128904" y="26287"/>
                  <a:pt x="128950" y="26083"/>
                  <a:pt x="129043" y="25897"/>
                </a:cubicBezTo>
                <a:cubicBezTo>
                  <a:pt x="129136" y="25711"/>
                  <a:pt x="129313" y="25552"/>
                  <a:pt x="129573" y="25422"/>
                </a:cubicBezTo>
                <a:cubicBezTo>
                  <a:pt x="129834" y="25292"/>
                  <a:pt x="130178" y="25199"/>
                  <a:pt x="130606" y="25143"/>
                </a:cubicBezTo>
                <a:cubicBezTo>
                  <a:pt x="131034" y="25087"/>
                  <a:pt x="131564" y="25059"/>
                  <a:pt x="132196" y="25059"/>
                </a:cubicBezTo>
                <a:close/>
                <a:moveTo>
                  <a:pt x="831447" y="24446"/>
                </a:moveTo>
                <a:cubicBezTo>
                  <a:pt x="834907" y="24446"/>
                  <a:pt x="837827" y="24864"/>
                  <a:pt x="840209" y="25701"/>
                </a:cubicBezTo>
                <a:cubicBezTo>
                  <a:pt x="842590" y="26538"/>
                  <a:pt x="844515" y="27738"/>
                  <a:pt x="845985" y="29301"/>
                </a:cubicBezTo>
                <a:cubicBezTo>
                  <a:pt x="847455" y="30864"/>
                  <a:pt x="848506" y="32789"/>
                  <a:pt x="849138" y="35077"/>
                </a:cubicBezTo>
                <a:cubicBezTo>
                  <a:pt x="849771" y="37366"/>
                  <a:pt x="850087" y="39961"/>
                  <a:pt x="850087" y="42863"/>
                </a:cubicBezTo>
                <a:lnTo>
                  <a:pt x="850087" y="77019"/>
                </a:lnTo>
                <a:cubicBezTo>
                  <a:pt x="850087" y="77391"/>
                  <a:pt x="849966" y="77679"/>
                  <a:pt x="849724" y="77884"/>
                </a:cubicBezTo>
                <a:cubicBezTo>
                  <a:pt x="849483" y="78089"/>
                  <a:pt x="849166" y="78238"/>
                  <a:pt x="848776" y="78331"/>
                </a:cubicBezTo>
                <a:cubicBezTo>
                  <a:pt x="848385" y="78424"/>
                  <a:pt x="847855" y="78470"/>
                  <a:pt x="847185" y="78470"/>
                </a:cubicBezTo>
                <a:cubicBezTo>
                  <a:pt x="846553" y="78470"/>
                  <a:pt x="846013" y="78424"/>
                  <a:pt x="845567" y="78331"/>
                </a:cubicBezTo>
                <a:cubicBezTo>
                  <a:pt x="845120" y="78238"/>
                  <a:pt x="844776" y="78089"/>
                  <a:pt x="844534" y="77884"/>
                </a:cubicBezTo>
                <a:cubicBezTo>
                  <a:pt x="844292" y="77679"/>
                  <a:pt x="844171" y="77391"/>
                  <a:pt x="844171" y="77019"/>
                </a:cubicBezTo>
                <a:lnTo>
                  <a:pt x="844171" y="71382"/>
                </a:lnTo>
                <a:cubicBezTo>
                  <a:pt x="841902" y="73838"/>
                  <a:pt x="839399" y="75735"/>
                  <a:pt x="836665" y="77075"/>
                </a:cubicBezTo>
                <a:cubicBezTo>
                  <a:pt x="833930" y="78414"/>
                  <a:pt x="831093" y="79084"/>
                  <a:pt x="828154" y="79084"/>
                </a:cubicBezTo>
                <a:cubicBezTo>
                  <a:pt x="825512" y="79084"/>
                  <a:pt x="823140" y="78740"/>
                  <a:pt x="821038" y="78052"/>
                </a:cubicBezTo>
                <a:cubicBezTo>
                  <a:pt x="818936" y="77363"/>
                  <a:pt x="817159" y="76377"/>
                  <a:pt x="815708" y="75094"/>
                </a:cubicBezTo>
                <a:cubicBezTo>
                  <a:pt x="814257" y="73810"/>
                  <a:pt x="813141" y="72257"/>
                  <a:pt x="812359" y="70433"/>
                </a:cubicBezTo>
                <a:cubicBezTo>
                  <a:pt x="811578" y="68610"/>
                  <a:pt x="811187" y="66564"/>
                  <a:pt x="811187" y="64294"/>
                </a:cubicBezTo>
                <a:cubicBezTo>
                  <a:pt x="811187" y="61504"/>
                  <a:pt x="811764" y="59076"/>
                  <a:pt x="812917" y="57011"/>
                </a:cubicBezTo>
                <a:cubicBezTo>
                  <a:pt x="814071" y="54946"/>
                  <a:pt x="815708" y="53225"/>
                  <a:pt x="817829" y="51848"/>
                </a:cubicBezTo>
                <a:cubicBezTo>
                  <a:pt x="819950" y="50472"/>
                  <a:pt x="822498" y="49439"/>
                  <a:pt x="825475" y="48751"/>
                </a:cubicBezTo>
                <a:cubicBezTo>
                  <a:pt x="828451" y="48063"/>
                  <a:pt x="831763" y="47718"/>
                  <a:pt x="835409" y="47718"/>
                </a:cubicBezTo>
                <a:lnTo>
                  <a:pt x="843446" y="47718"/>
                </a:lnTo>
                <a:lnTo>
                  <a:pt x="843446" y="43365"/>
                </a:lnTo>
                <a:cubicBezTo>
                  <a:pt x="843446" y="41207"/>
                  <a:pt x="843223" y="39300"/>
                  <a:pt x="842776" y="37645"/>
                </a:cubicBezTo>
                <a:cubicBezTo>
                  <a:pt x="842330" y="35989"/>
                  <a:pt x="841604" y="34603"/>
                  <a:pt x="840599" y="33487"/>
                </a:cubicBezTo>
                <a:cubicBezTo>
                  <a:pt x="839595" y="32371"/>
                  <a:pt x="838293" y="31533"/>
                  <a:pt x="836693" y="30975"/>
                </a:cubicBezTo>
                <a:cubicBezTo>
                  <a:pt x="835093" y="30417"/>
                  <a:pt x="833139" y="30138"/>
                  <a:pt x="830833" y="30138"/>
                </a:cubicBezTo>
                <a:cubicBezTo>
                  <a:pt x="828600" y="30138"/>
                  <a:pt x="826591" y="30408"/>
                  <a:pt x="824805" y="30947"/>
                </a:cubicBezTo>
                <a:cubicBezTo>
                  <a:pt x="823019" y="31487"/>
                  <a:pt x="821456" y="32092"/>
                  <a:pt x="820117" y="32761"/>
                </a:cubicBezTo>
                <a:cubicBezTo>
                  <a:pt x="818777" y="33431"/>
                  <a:pt x="817671" y="34036"/>
                  <a:pt x="816796" y="34575"/>
                </a:cubicBezTo>
                <a:cubicBezTo>
                  <a:pt x="815922" y="35115"/>
                  <a:pt x="815299" y="35384"/>
                  <a:pt x="814927" y="35384"/>
                </a:cubicBezTo>
                <a:cubicBezTo>
                  <a:pt x="814703" y="35384"/>
                  <a:pt x="814499" y="35347"/>
                  <a:pt x="814313" y="35273"/>
                </a:cubicBezTo>
                <a:cubicBezTo>
                  <a:pt x="814127" y="35198"/>
                  <a:pt x="813969" y="35059"/>
                  <a:pt x="813838" y="34854"/>
                </a:cubicBezTo>
                <a:cubicBezTo>
                  <a:pt x="813708" y="34650"/>
                  <a:pt x="813615" y="34389"/>
                  <a:pt x="813559" y="34073"/>
                </a:cubicBezTo>
                <a:cubicBezTo>
                  <a:pt x="813503" y="33757"/>
                  <a:pt x="813475" y="33375"/>
                  <a:pt x="813475" y="32929"/>
                </a:cubicBezTo>
                <a:cubicBezTo>
                  <a:pt x="813475" y="32147"/>
                  <a:pt x="813531" y="31524"/>
                  <a:pt x="813643" y="31059"/>
                </a:cubicBezTo>
                <a:cubicBezTo>
                  <a:pt x="813755" y="30594"/>
                  <a:pt x="814043" y="30129"/>
                  <a:pt x="814508" y="29664"/>
                </a:cubicBezTo>
                <a:cubicBezTo>
                  <a:pt x="814973" y="29199"/>
                  <a:pt x="815801" y="28650"/>
                  <a:pt x="816992" y="28017"/>
                </a:cubicBezTo>
                <a:cubicBezTo>
                  <a:pt x="818182" y="27385"/>
                  <a:pt x="819550" y="26799"/>
                  <a:pt x="821094" y="26259"/>
                </a:cubicBezTo>
                <a:cubicBezTo>
                  <a:pt x="822638" y="25720"/>
                  <a:pt x="824303" y="25283"/>
                  <a:pt x="826089" y="24948"/>
                </a:cubicBezTo>
                <a:cubicBezTo>
                  <a:pt x="827875" y="24613"/>
                  <a:pt x="829661" y="24446"/>
                  <a:pt x="831447" y="24446"/>
                </a:cubicBezTo>
                <a:close/>
                <a:moveTo>
                  <a:pt x="714040" y="24446"/>
                </a:moveTo>
                <a:cubicBezTo>
                  <a:pt x="717351" y="24446"/>
                  <a:pt x="720142" y="25004"/>
                  <a:pt x="722411" y="26120"/>
                </a:cubicBezTo>
                <a:cubicBezTo>
                  <a:pt x="724681" y="27236"/>
                  <a:pt x="726513" y="28743"/>
                  <a:pt x="727909" y="30640"/>
                </a:cubicBezTo>
                <a:cubicBezTo>
                  <a:pt x="729304" y="32538"/>
                  <a:pt x="730309" y="34752"/>
                  <a:pt x="730922" y="37282"/>
                </a:cubicBezTo>
                <a:cubicBezTo>
                  <a:pt x="731536" y="39812"/>
                  <a:pt x="731843" y="42863"/>
                  <a:pt x="731843" y="46435"/>
                </a:cubicBezTo>
                <a:lnTo>
                  <a:pt x="731843" y="77019"/>
                </a:lnTo>
                <a:cubicBezTo>
                  <a:pt x="731843" y="77242"/>
                  <a:pt x="731787" y="77447"/>
                  <a:pt x="731676" y="77633"/>
                </a:cubicBezTo>
                <a:cubicBezTo>
                  <a:pt x="731564" y="77819"/>
                  <a:pt x="731387" y="77968"/>
                  <a:pt x="731146" y="78079"/>
                </a:cubicBezTo>
                <a:cubicBezTo>
                  <a:pt x="730904" y="78191"/>
                  <a:pt x="730569" y="78284"/>
                  <a:pt x="730141" y="78358"/>
                </a:cubicBezTo>
                <a:cubicBezTo>
                  <a:pt x="729713" y="78433"/>
                  <a:pt x="729183" y="78470"/>
                  <a:pt x="728550" y="78470"/>
                </a:cubicBezTo>
                <a:cubicBezTo>
                  <a:pt x="727881" y="78470"/>
                  <a:pt x="727332" y="78433"/>
                  <a:pt x="726904" y="78358"/>
                </a:cubicBezTo>
                <a:cubicBezTo>
                  <a:pt x="726476" y="78284"/>
                  <a:pt x="726141" y="78191"/>
                  <a:pt x="725899" y="78079"/>
                </a:cubicBezTo>
                <a:cubicBezTo>
                  <a:pt x="725658" y="77968"/>
                  <a:pt x="725481" y="77819"/>
                  <a:pt x="725369" y="77633"/>
                </a:cubicBezTo>
                <a:cubicBezTo>
                  <a:pt x="725258" y="77447"/>
                  <a:pt x="725202" y="77242"/>
                  <a:pt x="725202" y="77019"/>
                </a:cubicBezTo>
                <a:lnTo>
                  <a:pt x="725202" y="47049"/>
                </a:lnTo>
                <a:cubicBezTo>
                  <a:pt x="725202" y="43923"/>
                  <a:pt x="724960" y="41384"/>
                  <a:pt x="724476" y="39431"/>
                </a:cubicBezTo>
                <a:cubicBezTo>
                  <a:pt x="723993" y="37477"/>
                  <a:pt x="723267" y="35803"/>
                  <a:pt x="722300" y="34408"/>
                </a:cubicBezTo>
                <a:cubicBezTo>
                  <a:pt x="721332" y="33012"/>
                  <a:pt x="720095" y="31933"/>
                  <a:pt x="718588" y="31171"/>
                </a:cubicBezTo>
                <a:cubicBezTo>
                  <a:pt x="717081" y="30408"/>
                  <a:pt x="715323" y="30027"/>
                  <a:pt x="713314" y="30027"/>
                </a:cubicBezTo>
                <a:cubicBezTo>
                  <a:pt x="710747" y="30027"/>
                  <a:pt x="708180" y="30938"/>
                  <a:pt x="705612" y="32761"/>
                </a:cubicBezTo>
                <a:cubicBezTo>
                  <a:pt x="703045" y="34584"/>
                  <a:pt x="700348" y="37263"/>
                  <a:pt x="697520" y="40798"/>
                </a:cubicBezTo>
                <a:lnTo>
                  <a:pt x="697520" y="77019"/>
                </a:lnTo>
                <a:cubicBezTo>
                  <a:pt x="697520" y="77242"/>
                  <a:pt x="697464" y="77447"/>
                  <a:pt x="697352" y="77633"/>
                </a:cubicBezTo>
                <a:cubicBezTo>
                  <a:pt x="697241" y="77819"/>
                  <a:pt x="697064" y="77968"/>
                  <a:pt x="696822" y="78079"/>
                </a:cubicBezTo>
                <a:cubicBezTo>
                  <a:pt x="696580" y="78191"/>
                  <a:pt x="696245" y="78284"/>
                  <a:pt x="695818" y="78358"/>
                </a:cubicBezTo>
                <a:cubicBezTo>
                  <a:pt x="695390" y="78433"/>
                  <a:pt x="694841" y="78470"/>
                  <a:pt x="694171" y="78470"/>
                </a:cubicBezTo>
                <a:cubicBezTo>
                  <a:pt x="693539" y="78470"/>
                  <a:pt x="693008" y="78433"/>
                  <a:pt x="692581" y="78358"/>
                </a:cubicBezTo>
                <a:cubicBezTo>
                  <a:pt x="692153" y="78284"/>
                  <a:pt x="691809" y="78191"/>
                  <a:pt x="691548" y="78079"/>
                </a:cubicBezTo>
                <a:cubicBezTo>
                  <a:pt x="691288" y="77968"/>
                  <a:pt x="691111" y="77819"/>
                  <a:pt x="691018" y="77633"/>
                </a:cubicBezTo>
                <a:cubicBezTo>
                  <a:pt x="690925" y="77447"/>
                  <a:pt x="690878" y="77242"/>
                  <a:pt x="690878" y="77019"/>
                </a:cubicBezTo>
                <a:lnTo>
                  <a:pt x="690878" y="26510"/>
                </a:lnTo>
                <a:cubicBezTo>
                  <a:pt x="690878" y="26287"/>
                  <a:pt x="690925" y="26083"/>
                  <a:pt x="691018" y="25897"/>
                </a:cubicBezTo>
                <a:cubicBezTo>
                  <a:pt x="691111" y="25711"/>
                  <a:pt x="691288" y="25552"/>
                  <a:pt x="691548" y="25422"/>
                </a:cubicBezTo>
                <a:cubicBezTo>
                  <a:pt x="691809" y="25292"/>
                  <a:pt x="692134" y="25199"/>
                  <a:pt x="692525" y="25143"/>
                </a:cubicBezTo>
                <a:cubicBezTo>
                  <a:pt x="692915" y="25087"/>
                  <a:pt x="693427" y="25059"/>
                  <a:pt x="694060" y="25059"/>
                </a:cubicBezTo>
                <a:cubicBezTo>
                  <a:pt x="694692" y="25059"/>
                  <a:pt x="695213" y="25087"/>
                  <a:pt x="695622" y="25143"/>
                </a:cubicBezTo>
                <a:cubicBezTo>
                  <a:pt x="696031" y="25199"/>
                  <a:pt x="696348" y="25292"/>
                  <a:pt x="696571" y="25422"/>
                </a:cubicBezTo>
                <a:cubicBezTo>
                  <a:pt x="696794" y="25552"/>
                  <a:pt x="696952" y="25711"/>
                  <a:pt x="697045" y="25897"/>
                </a:cubicBezTo>
                <a:cubicBezTo>
                  <a:pt x="697138" y="26083"/>
                  <a:pt x="697185" y="26287"/>
                  <a:pt x="697185" y="26510"/>
                </a:cubicBezTo>
                <a:lnTo>
                  <a:pt x="697185" y="33654"/>
                </a:lnTo>
                <a:cubicBezTo>
                  <a:pt x="700087" y="30417"/>
                  <a:pt x="702933" y="28073"/>
                  <a:pt x="705724" y="26622"/>
                </a:cubicBezTo>
                <a:cubicBezTo>
                  <a:pt x="708515" y="25171"/>
                  <a:pt x="711286" y="24446"/>
                  <a:pt x="714040" y="24446"/>
                </a:cubicBezTo>
                <a:close/>
                <a:moveTo>
                  <a:pt x="653597" y="24446"/>
                </a:moveTo>
                <a:cubicBezTo>
                  <a:pt x="657392" y="24446"/>
                  <a:pt x="660629" y="25078"/>
                  <a:pt x="663308" y="26343"/>
                </a:cubicBezTo>
                <a:cubicBezTo>
                  <a:pt x="665987" y="27608"/>
                  <a:pt x="668191" y="29310"/>
                  <a:pt x="669921" y="31450"/>
                </a:cubicBezTo>
                <a:cubicBezTo>
                  <a:pt x="671652" y="33589"/>
                  <a:pt x="672917" y="36073"/>
                  <a:pt x="673717" y="38900"/>
                </a:cubicBezTo>
                <a:cubicBezTo>
                  <a:pt x="674517" y="41728"/>
                  <a:pt x="674917" y="44705"/>
                  <a:pt x="674917" y="47830"/>
                </a:cubicBezTo>
                <a:lnTo>
                  <a:pt x="674917" y="49170"/>
                </a:lnTo>
                <a:cubicBezTo>
                  <a:pt x="674917" y="50509"/>
                  <a:pt x="674563" y="51430"/>
                  <a:pt x="673856" y="51932"/>
                </a:cubicBezTo>
                <a:cubicBezTo>
                  <a:pt x="673149" y="52434"/>
                  <a:pt x="672461" y="52686"/>
                  <a:pt x="671791" y="52686"/>
                </a:cubicBezTo>
                <a:lnTo>
                  <a:pt x="637356" y="52686"/>
                </a:lnTo>
                <a:cubicBezTo>
                  <a:pt x="637356" y="55811"/>
                  <a:pt x="637663" y="58639"/>
                  <a:pt x="638277" y="61169"/>
                </a:cubicBezTo>
                <a:cubicBezTo>
                  <a:pt x="638891" y="63699"/>
                  <a:pt x="639905" y="65866"/>
                  <a:pt x="641319" y="67671"/>
                </a:cubicBezTo>
                <a:cubicBezTo>
                  <a:pt x="642732" y="69475"/>
                  <a:pt x="644574" y="70861"/>
                  <a:pt x="646844" y="71829"/>
                </a:cubicBezTo>
                <a:cubicBezTo>
                  <a:pt x="649113" y="72796"/>
                  <a:pt x="651904" y="73280"/>
                  <a:pt x="655215" y="73280"/>
                </a:cubicBezTo>
                <a:cubicBezTo>
                  <a:pt x="657559" y="73280"/>
                  <a:pt x="659662" y="73075"/>
                  <a:pt x="661522" y="72666"/>
                </a:cubicBezTo>
                <a:cubicBezTo>
                  <a:pt x="663382" y="72257"/>
                  <a:pt x="664992" y="71801"/>
                  <a:pt x="666350" y="71298"/>
                </a:cubicBezTo>
                <a:cubicBezTo>
                  <a:pt x="667708" y="70796"/>
                  <a:pt x="668824" y="70340"/>
                  <a:pt x="669698" y="69931"/>
                </a:cubicBezTo>
                <a:cubicBezTo>
                  <a:pt x="670573" y="69522"/>
                  <a:pt x="671196" y="69317"/>
                  <a:pt x="671568" y="69317"/>
                </a:cubicBezTo>
                <a:cubicBezTo>
                  <a:pt x="671791" y="69317"/>
                  <a:pt x="671996" y="69373"/>
                  <a:pt x="672182" y="69485"/>
                </a:cubicBezTo>
                <a:cubicBezTo>
                  <a:pt x="672368" y="69596"/>
                  <a:pt x="672517" y="69773"/>
                  <a:pt x="672628" y="70015"/>
                </a:cubicBezTo>
                <a:cubicBezTo>
                  <a:pt x="672740" y="70257"/>
                  <a:pt x="672824" y="70564"/>
                  <a:pt x="672879" y="70936"/>
                </a:cubicBezTo>
                <a:cubicBezTo>
                  <a:pt x="672935" y="71308"/>
                  <a:pt x="672963" y="71773"/>
                  <a:pt x="672963" y="72331"/>
                </a:cubicBezTo>
                <a:cubicBezTo>
                  <a:pt x="672963" y="72591"/>
                  <a:pt x="672945" y="72843"/>
                  <a:pt x="672907" y="73084"/>
                </a:cubicBezTo>
                <a:cubicBezTo>
                  <a:pt x="672870" y="73326"/>
                  <a:pt x="672824" y="73549"/>
                  <a:pt x="672768" y="73754"/>
                </a:cubicBezTo>
                <a:cubicBezTo>
                  <a:pt x="672712" y="73959"/>
                  <a:pt x="672628" y="74154"/>
                  <a:pt x="672517" y="74340"/>
                </a:cubicBezTo>
                <a:cubicBezTo>
                  <a:pt x="672405" y="74526"/>
                  <a:pt x="672256" y="74712"/>
                  <a:pt x="672070" y="74898"/>
                </a:cubicBezTo>
                <a:cubicBezTo>
                  <a:pt x="671884" y="75084"/>
                  <a:pt x="671307" y="75410"/>
                  <a:pt x="670340" y="75875"/>
                </a:cubicBezTo>
                <a:cubicBezTo>
                  <a:pt x="669373" y="76340"/>
                  <a:pt x="668108" y="76805"/>
                  <a:pt x="666545" y="77270"/>
                </a:cubicBezTo>
                <a:cubicBezTo>
                  <a:pt x="664982" y="77735"/>
                  <a:pt x="663168" y="78154"/>
                  <a:pt x="661103" y="78526"/>
                </a:cubicBezTo>
                <a:cubicBezTo>
                  <a:pt x="659038" y="78898"/>
                  <a:pt x="656815" y="79084"/>
                  <a:pt x="654434" y="79084"/>
                </a:cubicBezTo>
                <a:cubicBezTo>
                  <a:pt x="650527" y="79084"/>
                  <a:pt x="647067" y="78498"/>
                  <a:pt x="644053" y="77326"/>
                </a:cubicBezTo>
                <a:cubicBezTo>
                  <a:pt x="641039" y="76154"/>
                  <a:pt x="638509" y="74424"/>
                  <a:pt x="636463" y="72136"/>
                </a:cubicBezTo>
                <a:cubicBezTo>
                  <a:pt x="634417" y="69847"/>
                  <a:pt x="632863" y="67010"/>
                  <a:pt x="631803" y="63625"/>
                </a:cubicBezTo>
                <a:cubicBezTo>
                  <a:pt x="630743" y="60239"/>
                  <a:pt x="630212" y="56313"/>
                  <a:pt x="630212" y="51848"/>
                </a:cubicBezTo>
                <a:cubicBezTo>
                  <a:pt x="630212" y="47570"/>
                  <a:pt x="630761" y="43737"/>
                  <a:pt x="631859" y="40352"/>
                </a:cubicBezTo>
                <a:cubicBezTo>
                  <a:pt x="632956" y="36966"/>
                  <a:pt x="634528" y="34091"/>
                  <a:pt x="636575" y="31729"/>
                </a:cubicBezTo>
                <a:cubicBezTo>
                  <a:pt x="638621" y="29366"/>
                  <a:pt x="641086" y="27562"/>
                  <a:pt x="643970" y="26315"/>
                </a:cubicBezTo>
                <a:cubicBezTo>
                  <a:pt x="646853" y="25069"/>
                  <a:pt x="650062" y="24446"/>
                  <a:pt x="653597" y="24446"/>
                </a:cubicBezTo>
                <a:close/>
                <a:moveTo>
                  <a:pt x="475915" y="24446"/>
                </a:moveTo>
                <a:cubicBezTo>
                  <a:pt x="479226" y="24446"/>
                  <a:pt x="482017" y="25004"/>
                  <a:pt x="484286" y="26120"/>
                </a:cubicBezTo>
                <a:cubicBezTo>
                  <a:pt x="486556" y="27236"/>
                  <a:pt x="488388" y="28743"/>
                  <a:pt x="489784" y="30640"/>
                </a:cubicBezTo>
                <a:cubicBezTo>
                  <a:pt x="491179" y="32538"/>
                  <a:pt x="492183" y="34752"/>
                  <a:pt x="492797" y="37282"/>
                </a:cubicBezTo>
                <a:cubicBezTo>
                  <a:pt x="493411" y="39812"/>
                  <a:pt x="493718" y="42863"/>
                  <a:pt x="493718" y="46435"/>
                </a:cubicBezTo>
                <a:lnTo>
                  <a:pt x="493718" y="77019"/>
                </a:lnTo>
                <a:cubicBezTo>
                  <a:pt x="493718" y="77242"/>
                  <a:pt x="493663" y="77447"/>
                  <a:pt x="493551" y="77633"/>
                </a:cubicBezTo>
                <a:cubicBezTo>
                  <a:pt x="493439" y="77819"/>
                  <a:pt x="493263" y="77968"/>
                  <a:pt x="493021" y="78079"/>
                </a:cubicBezTo>
                <a:cubicBezTo>
                  <a:pt x="492779" y="78191"/>
                  <a:pt x="492444" y="78284"/>
                  <a:pt x="492016" y="78358"/>
                </a:cubicBezTo>
                <a:cubicBezTo>
                  <a:pt x="491588" y="78433"/>
                  <a:pt x="491058" y="78470"/>
                  <a:pt x="490425" y="78470"/>
                </a:cubicBezTo>
                <a:cubicBezTo>
                  <a:pt x="489756" y="78470"/>
                  <a:pt x="489207" y="78433"/>
                  <a:pt x="488779" y="78358"/>
                </a:cubicBezTo>
                <a:cubicBezTo>
                  <a:pt x="488351" y="78284"/>
                  <a:pt x="488016" y="78191"/>
                  <a:pt x="487774" y="78079"/>
                </a:cubicBezTo>
                <a:cubicBezTo>
                  <a:pt x="487533" y="77968"/>
                  <a:pt x="487356" y="77819"/>
                  <a:pt x="487244" y="77633"/>
                </a:cubicBezTo>
                <a:cubicBezTo>
                  <a:pt x="487133" y="77447"/>
                  <a:pt x="487077" y="77242"/>
                  <a:pt x="487077" y="77019"/>
                </a:cubicBezTo>
                <a:lnTo>
                  <a:pt x="487077" y="47049"/>
                </a:lnTo>
                <a:cubicBezTo>
                  <a:pt x="487077" y="43923"/>
                  <a:pt x="486835" y="41384"/>
                  <a:pt x="486351" y="39431"/>
                </a:cubicBezTo>
                <a:cubicBezTo>
                  <a:pt x="485868" y="37477"/>
                  <a:pt x="485142" y="35803"/>
                  <a:pt x="484175" y="34408"/>
                </a:cubicBezTo>
                <a:cubicBezTo>
                  <a:pt x="483207" y="33012"/>
                  <a:pt x="481970" y="31933"/>
                  <a:pt x="480463" y="31171"/>
                </a:cubicBezTo>
                <a:cubicBezTo>
                  <a:pt x="478956" y="30408"/>
                  <a:pt x="477198" y="30027"/>
                  <a:pt x="475189" y="30027"/>
                </a:cubicBezTo>
                <a:cubicBezTo>
                  <a:pt x="472622" y="30027"/>
                  <a:pt x="470055" y="30938"/>
                  <a:pt x="467487" y="32761"/>
                </a:cubicBezTo>
                <a:cubicBezTo>
                  <a:pt x="464920" y="34584"/>
                  <a:pt x="462223" y="37263"/>
                  <a:pt x="459395" y="40798"/>
                </a:cubicBezTo>
                <a:lnTo>
                  <a:pt x="459395" y="77019"/>
                </a:lnTo>
                <a:cubicBezTo>
                  <a:pt x="459395" y="77242"/>
                  <a:pt x="459339" y="77447"/>
                  <a:pt x="459227" y="77633"/>
                </a:cubicBezTo>
                <a:cubicBezTo>
                  <a:pt x="459116" y="77819"/>
                  <a:pt x="458939" y="77968"/>
                  <a:pt x="458697" y="78079"/>
                </a:cubicBezTo>
                <a:cubicBezTo>
                  <a:pt x="458455" y="78191"/>
                  <a:pt x="458120" y="78284"/>
                  <a:pt x="457693" y="78358"/>
                </a:cubicBezTo>
                <a:cubicBezTo>
                  <a:pt x="457265" y="78433"/>
                  <a:pt x="456716" y="78470"/>
                  <a:pt x="456046" y="78470"/>
                </a:cubicBezTo>
                <a:cubicBezTo>
                  <a:pt x="455414" y="78470"/>
                  <a:pt x="454883" y="78433"/>
                  <a:pt x="454456" y="78358"/>
                </a:cubicBezTo>
                <a:cubicBezTo>
                  <a:pt x="454028" y="78284"/>
                  <a:pt x="453683" y="78191"/>
                  <a:pt x="453423" y="78079"/>
                </a:cubicBezTo>
                <a:cubicBezTo>
                  <a:pt x="453163" y="77968"/>
                  <a:pt x="452986" y="77819"/>
                  <a:pt x="452893" y="77633"/>
                </a:cubicBezTo>
                <a:cubicBezTo>
                  <a:pt x="452800" y="77447"/>
                  <a:pt x="452753" y="77242"/>
                  <a:pt x="452753" y="77019"/>
                </a:cubicBezTo>
                <a:lnTo>
                  <a:pt x="452753" y="26510"/>
                </a:lnTo>
                <a:cubicBezTo>
                  <a:pt x="452753" y="26287"/>
                  <a:pt x="452800" y="26083"/>
                  <a:pt x="452893" y="25897"/>
                </a:cubicBezTo>
                <a:cubicBezTo>
                  <a:pt x="452986" y="25711"/>
                  <a:pt x="453163" y="25552"/>
                  <a:pt x="453423" y="25422"/>
                </a:cubicBezTo>
                <a:cubicBezTo>
                  <a:pt x="453683" y="25292"/>
                  <a:pt x="454009" y="25199"/>
                  <a:pt x="454400" y="25143"/>
                </a:cubicBezTo>
                <a:cubicBezTo>
                  <a:pt x="454790" y="25087"/>
                  <a:pt x="455302" y="25059"/>
                  <a:pt x="455935" y="25059"/>
                </a:cubicBezTo>
                <a:cubicBezTo>
                  <a:pt x="456567" y="25059"/>
                  <a:pt x="457088" y="25087"/>
                  <a:pt x="457497" y="25143"/>
                </a:cubicBezTo>
                <a:cubicBezTo>
                  <a:pt x="457907" y="25199"/>
                  <a:pt x="458223" y="25292"/>
                  <a:pt x="458446" y="25422"/>
                </a:cubicBezTo>
                <a:cubicBezTo>
                  <a:pt x="458669" y="25552"/>
                  <a:pt x="458827" y="25711"/>
                  <a:pt x="458920" y="25897"/>
                </a:cubicBezTo>
                <a:cubicBezTo>
                  <a:pt x="459013" y="26083"/>
                  <a:pt x="459060" y="26287"/>
                  <a:pt x="459060" y="26510"/>
                </a:cubicBezTo>
                <a:lnTo>
                  <a:pt x="459060" y="33654"/>
                </a:lnTo>
                <a:cubicBezTo>
                  <a:pt x="461962" y="30417"/>
                  <a:pt x="464808" y="28073"/>
                  <a:pt x="467599" y="26622"/>
                </a:cubicBezTo>
                <a:cubicBezTo>
                  <a:pt x="470389" y="25171"/>
                  <a:pt x="473161" y="24446"/>
                  <a:pt x="475915" y="24446"/>
                </a:cubicBezTo>
                <a:close/>
                <a:moveTo>
                  <a:pt x="416588" y="24446"/>
                </a:moveTo>
                <a:cubicBezTo>
                  <a:pt x="420532" y="24446"/>
                  <a:pt x="423983" y="25059"/>
                  <a:pt x="426941" y="26287"/>
                </a:cubicBezTo>
                <a:cubicBezTo>
                  <a:pt x="429899" y="27515"/>
                  <a:pt x="432364" y="29292"/>
                  <a:pt x="434336" y="31617"/>
                </a:cubicBezTo>
                <a:cubicBezTo>
                  <a:pt x="436308" y="33943"/>
                  <a:pt x="437796" y="36761"/>
                  <a:pt x="438801" y="40072"/>
                </a:cubicBezTo>
                <a:cubicBezTo>
                  <a:pt x="439805" y="43384"/>
                  <a:pt x="440308" y="47105"/>
                  <a:pt x="440308" y="51235"/>
                </a:cubicBezTo>
                <a:cubicBezTo>
                  <a:pt x="440308" y="55253"/>
                  <a:pt x="439787" y="58955"/>
                  <a:pt x="438745" y="62341"/>
                </a:cubicBezTo>
                <a:cubicBezTo>
                  <a:pt x="437703" y="65727"/>
                  <a:pt x="436150" y="68666"/>
                  <a:pt x="434085" y="71159"/>
                </a:cubicBezTo>
                <a:cubicBezTo>
                  <a:pt x="432020" y="73652"/>
                  <a:pt x="429443" y="75596"/>
                  <a:pt x="426355" y="76991"/>
                </a:cubicBezTo>
                <a:cubicBezTo>
                  <a:pt x="423267" y="78386"/>
                  <a:pt x="419676" y="79084"/>
                  <a:pt x="415584" y="79084"/>
                </a:cubicBezTo>
                <a:cubicBezTo>
                  <a:pt x="411640" y="79084"/>
                  <a:pt x="408189" y="78461"/>
                  <a:pt x="405231" y="77214"/>
                </a:cubicBezTo>
                <a:cubicBezTo>
                  <a:pt x="402273" y="75968"/>
                  <a:pt x="399798" y="74182"/>
                  <a:pt x="397808" y="71857"/>
                </a:cubicBezTo>
                <a:cubicBezTo>
                  <a:pt x="395817" y="69531"/>
                  <a:pt x="394329" y="66713"/>
                  <a:pt x="393343" y="63401"/>
                </a:cubicBezTo>
                <a:cubicBezTo>
                  <a:pt x="392357" y="60090"/>
                  <a:pt x="391864" y="56351"/>
                  <a:pt x="391864" y="52183"/>
                </a:cubicBezTo>
                <a:cubicBezTo>
                  <a:pt x="391864" y="48165"/>
                  <a:pt x="392376" y="44463"/>
                  <a:pt x="393399" y="41077"/>
                </a:cubicBezTo>
                <a:cubicBezTo>
                  <a:pt x="394422" y="37691"/>
                  <a:pt x="395966" y="34761"/>
                  <a:pt x="398031" y="32287"/>
                </a:cubicBezTo>
                <a:cubicBezTo>
                  <a:pt x="400096" y="29813"/>
                  <a:pt x="402673" y="27887"/>
                  <a:pt x="405761" y="26510"/>
                </a:cubicBezTo>
                <a:cubicBezTo>
                  <a:pt x="408849" y="25134"/>
                  <a:pt x="412458" y="24446"/>
                  <a:pt x="416588" y="24446"/>
                </a:cubicBezTo>
                <a:close/>
                <a:moveTo>
                  <a:pt x="366787" y="24446"/>
                </a:moveTo>
                <a:cubicBezTo>
                  <a:pt x="368461" y="24446"/>
                  <a:pt x="370061" y="24604"/>
                  <a:pt x="371586" y="24920"/>
                </a:cubicBezTo>
                <a:cubicBezTo>
                  <a:pt x="373112" y="25236"/>
                  <a:pt x="374516" y="25655"/>
                  <a:pt x="375800" y="26176"/>
                </a:cubicBezTo>
                <a:cubicBezTo>
                  <a:pt x="377084" y="26697"/>
                  <a:pt x="378228" y="27292"/>
                  <a:pt x="379232" y="27962"/>
                </a:cubicBezTo>
                <a:cubicBezTo>
                  <a:pt x="380237" y="28631"/>
                  <a:pt x="380972" y="29199"/>
                  <a:pt x="381437" y="29664"/>
                </a:cubicBezTo>
                <a:cubicBezTo>
                  <a:pt x="381902" y="30129"/>
                  <a:pt x="382218" y="30482"/>
                  <a:pt x="382386" y="30724"/>
                </a:cubicBezTo>
                <a:cubicBezTo>
                  <a:pt x="382553" y="30966"/>
                  <a:pt x="382683" y="31236"/>
                  <a:pt x="382776" y="31533"/>
                </a:cubicBezTo>
                <a:cubicBezTo>
                  <a:pt x="382869" y="31831"/>
                  <a:pt x="382934" y="32157"/>
                  <a:pt x="382972" y="32510"/>
                </a:cubicBezTo>
                <a:cubicBezTo>
                  <a:pt x="383009" y="32864"/>
                  <a:pt x="383027" y="33282"/>
                  <a:pt x="383027" y="33766"/>
                </a:cubicBezTo>
                <a:cubicBezTo>
                  <a:pt x="383027" y="34845"/>
                  <a:pt x="382869" y="35598"/>
                  <a:pt x="382553" y="36026"/>
                </a:cubicBezTo>
                <a:cubicBezTo>
                  <a:pt x="382237" y="36454"/>
                  <a:pt x="381893" y="36668"/>
                  <a:pt x="381521" y="36668"/>
                </a:cubicBezTo>
                <a:cubicBezTo>
                  <a:pt x="381000" y="36668"/>
                  <a:pt x="380358" y="36333"/>
                  <a:pt x="379595" y="35663"/>
                </a:cubicBezTo>
                <a:cubicBezTo>
                  <a:pt x="378832" y="34994"/>
                  <a:pt x="377856" y="34259"/>
                  <a:pt x="376665" y="33459"/>
                </a:cubicBezTo>
                <a:cubicBezTo>
                  <a:pt x="375474" y="32659"/>
                  <a:pt x="374033" y="31924"/>
                  <a:pt x="372340" y="31254"/>
                </a:cubicBezTo>
                <a:cubicBezTo>
                  <a:pt x="370647" y="30585"/>
                  <a:pt x="368628" y="30250"/>
                  <a:pt x="366284" y="30250"/>
                </a:cubicBezTo>
                <a:cubicBezTo>
                  <a:pt x="361447" y="30250"/>
                  <a:pt x="357718" y="32110"/>
                  <a:pt x="355094" y="35831"/>
                </a:cubicBezTo>
                <a:cubicBezTo>
                  <a:pt x="352471" y="39552"/>
                  <a:pt x="351160" y="44928"/>
                  <a:pt x="351160" y="51960"/>
                </a:cubicBezTo>
                <a:cubicBezTo>
                  <a:pt x="351160" y="55495"/>
                  <a:pt x="351513" y="58592"/>
                  <a:pt x="352220" y="61253"/>
                </a:cubicBezTo>
                <a:cubicBezTo>
                  <a:pt x="352927" y="63913"/>
                  <a:pt x="353941" y="66127"/>
                  <a:pt x="355262" y="67894"/>
                </a:cubicBezTo>
                <a:cubicBezTo>
                  <a:pt x="356583" y="69661"/>
                  <a:pt x="358192" y="70982"/>
                  <a:pt x="360089" y="71857"/>
                </a:cubicBezTo>
                <a:cubicBezTo>
                  <a:pt x="361987" y="72731"/>
                  <a:pt x="364126" y="73168"/>
                  <a:pt x="366507" y="73168"/>
                </a:cubicBezTo>
                <a:cubicBezTo>
                  <a:pt x="368740" y="73168"/>
                  <a:pt x="370712" y="72815"/>
                  <a:pt x="372423" y="72108"/>
                </a:cubicBezTo>
                <a:cubicBezTo>
                  <a:pt x="374135" y="71401"/>
                  <a:pt x="375623" y="70619"/>
                  <a:pt x="376888" y="69764"/>
                </a:cubicBezTo>
                <a:cubicBezTo>
                  <a:pt x="378153" y="68908"/>
                  <a:pt x="379204" y="68127"/>
                  <a:pt x="380041" y="67420"/>
                </a:cubicBezTo>
                <a:cubicBezTo>
                  <a:pt x="380879" y="66713"/>
                  <a:pt x="381502" y="66359"/>
                  <a:pt x="381911" y="66359"/>
                </a:cubicBezTo>
                <a:cubicBezTo>
                  <a:pt x="382134" y="66359"/>
                  <a:pt x="382330" y="66424"/>
                  <a:pt x="382497" y="66555"/>
                </a:cubicBezTo>
                <a:cubicBezTo>
                  <a:pt x="382665" y="66685"/>
                  <a:pt x="382804" y="66889"/>
                  <a:pt x="382916" y="67168"/>
                </a:cubicBezTo>
                <a:cubicBezTo>
                  <a:pt x="383027" y="67448"/>
                  <a:pt x="383111" y="67782"/>
                  <a:pt x="383167" y="68173"/>
                </a:cubicBezTo>
                <a:cubicBezTo>
                  <a:pt x="383223" y="68564"/>
                  <a:pt x="383251" y="69020"/>
                  <a:pt x="383251" y="69540"/>
                </a:cubicBezTo>
                <a:cubicBezTo>
                  <a:pt x="383251" y="69987"/>
                  <a:pt x="383232" y="70387"/>
                  <a:pt x="383195" y="70740"/>
                </a:cubicBezTo>
                <a:cubicBezTo>
                  <a:pt x="383158" y="71094"/>
                  <a:pt x="383102" y="71401"/>
                  <a:pt x="383027" y="71661"/>
                </a:cubicBezTo>
                <a:cubicBezTo>
                  <a:pt x="382953" y="71922"/>
                  <a:pt x="382851" y="72154"/>
                  <a:pt x="382720" y="72359"/>
                </a:cubicBezTo>
                <a:cubicBezTo>
                  <a:pt x="382590" y="72563"/>
                  <a:pt x="382283" y="72908"/>
                  <a:pt x="381800" y="73391"/>
                </a:cubicBezTo>
                <a:cubicBezTo>
                  <a:pt x="381316" y="73875"/>
                  <a:pt x="380507" y="74489"/>
                  <a:pt x="379372" y="75233"/>
                </a:cubicBezTo>
                <a:cubicBezTo>
                  <a:pt x="378237" y="75977"/>
                  <a:pt x="376963" y="76628"/>
                  <a:pt x="375549" y="77186"/>
                </a:cubicBezTo>
                <a:cubicBezTo>
                  <a:pt x="374135" y="77745"/>
                  <a:pt x="372609" y="78200"/>
                  <a:pt x="370972" y="78554"/>
                </a:cubicBezTo>
                <a:cubicBezTo>
                  <a:pt x="369335" y="78907"/>
                  <a:pt x="367642" y="79084"/>
                  <a:pt x="365894" y="79084"/>
                </a:cubicBezTo>
                <a:cubicBezTo>
                  <a:pt x="362396" y="79084"/>
                  <a:pt x="359299" y="78498"/>
                  <a:pt x="356601" y="77326"/>
                </a:cubicBezTo>
                <a:cubicBezTo>
                  <a:pt x="353904" y="76154"/>
                  <a:pt x="351644" y="74424"/>
                  <a:pt x="349820" y="72136"/>
                </a:cubicBezTo>
                <a:cubicBezTo>
                  <a:pt x="347997" y="69847"/>
                  <a:pt x="346611" y="67038"/>
                  <a:pt x="345662" y="63708"/>
                </a:cubicBezTo>
                <a:cubicBezTo>
                  <a:pt x="344714" y="60378"/>
                  <a:pt x="344239" y="56537"/>
                  <a:pt x="344239" y="52183"/>
                </a:cubicBezTo>
                <a:cubicBezTo>
                  <a:pt x="344239" y="47272"/>
                  <a:pt x="344825" y="43068"/>
                  <a:pt x="345997" y="39570"/>
                </a:cubicBezTo>
                <a:cubicBezTo>
                  <a:pt x="347169" y="36073"/>
                  <a:pt x="348779" y="33208"/>
                  <a:pt x="350825" y="30975"/>
                </a:cubicBezTo>
                <a:cubicBezTo>
                  <a:pt x="352871" y="28743"/>
                  <a:pt x="355262" y="27097"/>
                  <a:pt x="357997" y="26036"/>
                </a:cubicBezTo>
                <a:cubicBezTo>
                  <a:pt x="360731" y="24976"/>
                  <a:pt x="363661" y="24446"/>
                  <a:pt x="366787" y="24446"/>
                </a:cubicBezTo>
                <a:close/>
                <a:moveTo>
                  <a:pt x="176287" y="24446"/>
                </a:moveTo>
                <a:cubicBezTo>
                  <a:pt x="177961" y="24446"/>
                  <a:pt x="179561" y="24604"/>
                  <a:pt x="181086" y="24920"/>
                </a:cubicBezTo>
                <a:cubicBezTo>
                  <a:pt x="182612" y="25236"/>
                  <a:pt x="184017" y="25655"/>
                  <a:pt x="185300" y="26176"/>
                </a:cubicBezTo>
                <a:cubicBezTo>
                  <a:pt x="186584" y="26697"/>
                  <a:pt x="187728" y="27292"/>
                  <a:pt x="188733" y="27962"/>
                </a:cubicBezTo>
                <a:cubicBezTo>
                  <a:pt x="189737" y="28631"/>
                  <a:pt x="190472" y="29199"/>
                  <a:pt x="190937" y="29664"/>
                </a:cubicBezTo>
                <a:cubicBezTo>
                  <a:pt x="191402" y="30129"/>
                  <a:pt x="191718" y="30482"/>
                  <a:pt x="191886" y="30724"/>
                </a:cubicBezTo>
                <a:cubicBezTo>
                  <a:pt x="192053" y="30966"/>
                  <a:pt x="192183" y="31236"/>
                  <a:pt x="192276" y="31533"/>
                </a:cubicBezTo>
                <a:cubicBezTo>
                  <a:pt x="192370" y="31831"/>
                  <a:pt x="192435" y="32157"/>
                  <a:pt x="192472" y="32510"/>
                </a:cubicBezTo>
                <a:cubicBezTo>
                  <a:pt x="192509" y="32864"/>
                  <a:pt x="192528" y="33282"/>
                  <a:pt x="192528" y="33766"/>
                </a:cubicBezTo>
                <a:cubicBezTo>
                  <a:pt x="192528" y="34845"/>
                  <a:pt x="192370" y="35598"/>
                  <a:pt x="192053" y="36026"/>
                </a:cubicBezTo>
                <a:cubicBezTo>
                  <a:pt x="191737" y="36454"/>
                  <a:pt x="191393" y="36668"/>
                  <a:pt x="191021" y="36668"/>
                </a:cubicBezTo>
                <a:cubicBezTo>
                  <a:pt x="190500" y="36668"/>
                  <a:pt x="189858" y="36333"/>
                  <a:pt x="189095" y="35663"/>
                </a:cubicBezTo>
                <a:cubicBezTo>
                  <a:pt x="188333" y="34994"/>
                  <a:pt x="187356" y="34259"/>
                  <a:pt x="186165" y="33459"/>
                </a:cubicBezTo>
                <a:cubicBezTo>
                  <a:pt x="184975" y="32659"/>
                  <a:pt x="183533" y="31924"/>
                  <a:pt x="181840" y="31254"/>
                </a:cubicBezTo>
                <a:cubicBezTo>
                  <a:pt x="180147" y="30585"/>
                  <a:pt x="178129" y="30250"/>
                  <a:pt x="175784" y="30250"/>
                </a:cubicBezTo>
                <a:cubicBezTo>
                  <a:pt x="170948" y="30250"/>
                  <a:pt x="167218" y="32110"/>
                  <a:pt x="164594" y="35831"/>
                </a:cubicBezTo>
                <a:cubicBezTo>
                  <a:pt x="161971" y="39552"/>
                  <a:pt x="160660" y="44928"/>
                  <a:pt x="160660" y="51960"/>
                </a:cubicBezTo>
                <a:cubicBezTo>
                  <a:pt x="160660" y="55495"/>
                  <a:pt x="161013" y="58592"/>
                  <a:pt x="161720" y="61253"/>
                </a:cubicBezTo>
                <a:cubicBezTo>
                  <a:pt x="162427" y="63913"/>
                  <a:pt x="163441" y="66127"/>
                  <a:pt x="164762" y="67894"/>
                </a:cubicBezTo>
                <a:cubicBezTo>
                  <a:pt x="166083" y="69661"/>
                  <a:pt x="167692" y="70982"/>
                  <a:pt x="169590" y="71857"/>
                </a:cubicBezTo>
                <a:cubicBezTo>
                  <a:pt x="171487" y="72731"/>
                  <a:pt x="173626" y="73168"/>
                  <a:pt x="176008" y="73168"/>
                </a:cubicBezTo>
                <a:cubicBezTo>
                  <a:pt x="178240" y="73168"/>
                  <a:pt x="180212" y="72815"/>
                  <a:pt x="181924" y="72108"/>
                </a:cubicBezTo>
                <a:cubicBezTo>
                  <a:pt x="183635" y="71401"/>
                  <a:pt x="185123" y="70619"/>
                  <a:pt x="186388" y="69764"/>
                </a:cubicBezTo>
                <a:cubicBezTo>
                  <a:pt x="187654" y="68908"/>
                  <a:pt x="188705" y="68127"/>
                  <a:pt x="189542" y="67420"/>
                </a:cubicBezTo>
                <a:cubicBezTo>
                  <a:pt x="190379" y="66713"/>
                  <a:pt x="191002" y="66359"/>
                  <a:pt x="191411" y="66359"/>
                </a:cubicBezTo>
                <a:cubicBezTo>
                  <a:pt x="191635" y="66359"/>
                  <a:pt x="191830" y="66424"/>
                  <a:pt x="191997" y="66555"/>
                </a:cubicBezTo>
                <a:cubicBezTo>
                  <a:pt x="192165" y="66685"/>
                  <a:pt x="192304" y="66889"/>
                  <a:pt x="192416" y="67168"/>
                </a:cubicBezTo>
                <a:cubicBezTo>
                  <a:pt x="192528" y="67448"/>
                  <a:pt x="192611" y="67782"/>
                  <a:pt x="192667" y="68173"/>
                </a:cubicBezTo>
                <a:cubicBezTo>
                  <a:pt x="192723" y="68564"/>
                  <a:pt x="192751" y="69020"/>
                  <a:pt x="192751" y="69540"/>
                </a:cubicBezTo>
                <a:cubicBezTo>
                  <a:pt x="192751" y="69987"/>
                  <a:pt x="192732" y="70387"/>
                  <a:pt x="192695" y="70740"/>
                </a:cubicBezTo>
                <a:cubicBezTo>
                  <a:pt x="192658" y="71094"/>
                  <a:pt x="192602" y="71401"/>
                  <a:pt x="192528" y="71661"/>
                </a:cubicBezTo>
                <a:cubicBezTo>
                  <a:pt x="192453" y="71922"/>
                  <a:pt x="192351" y="72154"/>
                  <a:pt x="192221" y="72359"/>
                </a:cubicBezTo>
                <a:cubicBezTo>
                  <a:pt x="192090" y="72563"/>
                  <a:pt x="191784" y="72908"/>
                  <a:pt x="191300" y="73391"/>
                </a:cubicBezTo>
                <a:cubicBezTo>
                  <a:pt x="190816" y="73875"/>
                  <a:pt x="190007" y="74489"/>
                  <a:pt x="188872" y="75233"/>
                </a:cubicBezTo>
                <a:cubicBezTo>
                  <a:pt x="187737" y="75977"/>
                  <a:pt x="186463" y="76628"/>
                  <a:pt x="185049" y="77186"/>
                </a:cubicBezTo>
                <a:cubicBezTo>
                  <a:pt x="183635" y="77745"/>
                  <a:pt x="182110" y="78200"/>
                  <a:pt x="180473" y="78554"/>
                </a:cubicBezTo>
                <a:cubicBezTo>
                  <a:pt x="178835" y="78907"/>
                  <a:pt x="177143" y="79084"/>
                  <a:pt x="175394" y="79084"/>
                </a:cubicBezTo>
                <a:cubicBezTo>
                  <a:pt x="171896" y="79084"/>
                  <a:pt x="168799" y="78498"/>
                  <a:pt x="166101" y="77326"/>
                </a:cubicBezTo>
                <a:cubicBezTo>
                  <a:pt x="163404" y="76154"/>
                  <a:pt x="161144" y="74424"/>
                  <a:pt x="159320" y="72136"/>
                </a:cubicBezTo>
                <a:cubicBezTo>
                  <a:pt x="157497" y="69847"/>
                  <a:pt x="156111" y="67038"/>
                  <a:pt x="155162" y="63708"/>
                </a:cubicBezTo>
                <a:cubicBezTo>
                  <a:pt x="154214" y="60378"/>
                  <a:pt x="153739" y="56537"/>
                  <a:pt x="153739" y="52183"/>
                </a:cubicBezTo>
                <a:cubicBezTo>
                  <a:pt x="153739" y="47272"/>
                  <a:pt x="154325" y="43068"/>
                  <a:pt x="155497" y="39570"/>
                </a:cubicBezTo>
                <a:cubicBezTo>
                  <a:pt x="156669" y="36073"/>
                  <a:pt x="158279" y="33208"/>
                  <a:pt x="160325" y="30975"/>
                </a:cubicBezTo>
                <a:cubicBezTo>
                  <a:pt x="162371" y="28743"/>
                  <a:pt x="164762" y="27097"/>
                  <a:pt x="167497" y="26036"/>
                </a:cubicBezTo>
                <a:cubicBezTo>
                  <a:pt x="170231" y="24976"/>
                  <a:pt x="173161" y="24446"/>
                  <a:pt x="176287" y="24446"/>
                </a:cubicBezTo>
                <a:close/>
                <a:moveTo>
                  <a:pt x="111174" y="24446"/>
                </a:moveTo>
                <a:cubicBezTo>
                  <a:pt x="111658" y="24446"/>
                  <a:pt x="112216" y="24473"/>
                  <a:pt x="112849" y="24529"/>
                </a:cubicBezTo>
                <a:cubicBezTo>
                  <a:pt x="113481" y="24585"/>
                  <a:pt x="114160" y="24687"/>
                  <a:pt x="114886" y="24836"/>
                </a:cubicBezTo>
                <a:cubicBezTo>
                  <a:pt x="115611" y="24985"/>
                  <a:pt x="116263" y="25162"/>
                  <a:pt x="116839" y="25366"/>
                </a:cubicBezTo>
                <a:cubicBezTo>
                  <a:pt x="117416" y="25571"/>
                  <a:pt x="117816" y="25757"/>
                  <a:pt x="118039" y="25924"/>
                </a:cubicBezTo>
                <a:cubicBezTo>
                  <a:pt x="118262" y="26092"/>
                  <a:pt x="118411" y="26241"/>
                  <a:pt x="118486" y="26371"/>
                </a:cubicBezTo>
                <a:cubicBezTo>
                  <a:pt x="118560" y="26501"/>
                  <a:pt x="118625" y="26669"/>
                  <a:pt x="118681" y="26873"/>
                </a:cubicBezTo>
                <a:cubicBezTo>
                  <a:pt x="118737" y="27078"/>
                  <a:pt x="118774" y="27357"/>
                  <a:pt x="118793" y="27710"/>
                </a:cubicBezTo>
                <a:cubicBezTo>
                  <a:pt x="118811" y="28064"/>
                  <a:pt x="118821" y="28520"/>
                  <a:pt x="118821" y="29078"/>
                </a:cubicBezTo>
                <a:cubicBezTo>
                  <a:pt x="118821" y="29636"/>
                  <a:pt x="118802" y="30110"/>
                  <a:pt x="118765" y="30501"/>
                </a:cubicBezTo>
                <a:cubicBezTo>
                  <a:pt x="118727" y="30892"/>
                  <a:pt x="118662" y="31208"/>
                  <a:pt x="118569" y="31450"/>
                </a:cubicBezTo>
                <a:cubicBezTo>
                  <a:pt x="118476" y="31692"/>
                  <a:pt x="118365" y="31878"/>
                  <a:pt x="118234" y="32008"/>
                </a:cubicBezTo>
                <a:cubicBezTo>
                  <a:pt x="118104" y="32138"/>
                  <a:pt x="117928" y="32203"/>
                  <a:pt x="117704" y="32203"/>
                </a:cubicBezTo>
                <a:cubicBezTo>
                  <a:pt x="117369" y="32203"/>
                  <a:pt x="116979" y="32119"/>
                  <a:pt x="116532" y="31952"/>
                </a:cubicBezTo>
                <a:cubicBezTo>
                  <a:pt x="116086" y="31785"/>
                  <a:pt x="115565" y="31608"/>
                  <a:pt x="114970" y="31422"/>
                </a:cubicBezTo>
                <a:cubicBezTo>
                  <a:pt x="114374" y="31236"/>
                  <a:pt x="113723" y="31059"/>
                  <a:pt x="113016" y="30892"/>
                </a:cubicBezTo>
                <a:cubicBezTo>
                  <a:pt x="112309" y="30724"/>
                  <a:pt x="111528" y="30640"/>
                  <a:pt x="110672" y="30640"/>
                </a:cubicBezTo>
                <a:cubicBezTo>
                  <a:pt x="109668" y="30640"/>
                  <a:pt x="108682" y="30854"/>
                  <a:pt x="107714" y="31282"/>
                </a:cubicBezTo>
                <a:cubicBezTo>
                  <a:pt x="106747" y="31710"/>
                  <a:pt x="105733" y="32399"/>
                  <a:pt x="104673" y="33347"/>
                </a:cubicBezTo>
                <a:cubicBezTo>
                  <a:pt x="103612" y="34296"/>
                  <a:pt x="102496" y="35552"/>
                  <a:pt x="101324" y="37114"/>
                </a:cubicBezTo>
                <a:cubicBezTo>
                  <a:pt x="100152" y="38677"/>
                  <a:pt x="98859" y="40593"/>
                  <a:pt x="97445" y="42863"/>
                </a:cubicBezTo>
                <a:lnTo>
                  <a:pt x="97445" y="77019"/>
                </a:lnTo>
                <a:cubicBezTo>
                  <a:pt x="97445" y="77242"/>
                  <a:pt x="97389" y="77447"/>
                  <a:pt x="97278" y="77633"/>
                </a:cubicBezTo>
                <a:cubicBezTo>
                  <a:pt x="97166" y="77819"/>
                  <a:pt x="96989" y="77968"/>
                  <a:pt x="96747" y="78079"/>
                </a:cubicBezTo>
                <a:cubicBezTo>
                  <a:pt x="96506" y="78191"/>
                  <a:pt x="96171" y="78284"/>
                  <a:pt x="95743" y="78358"/>
                </a:cubicBezTo>
                <a:cubicBezTo>
                  <a:pt x="95315" y="78433"/>
                  <a:pt x="94766" y="78470"/>
                  <a:pt x="94096" y="78470"/>
                </a:cubicBezTo>
                <a:cubicBezTo>
                  <a:pt x="93464" y="78470"/>
                  <a:pt x="92934" y="78433"/>
                  <a:pt x="92506" y="78358"/>
                </a:cubicBezTo>
                <a:cubicBezTo>
                  <a:pt x="92078" y="78284"/>
                  <a:pt x="91734" y="78191"/>
                  <a:pt x="91473" y="78079"/>
                </a:cubicBezTo>
                <a:cubicBezTo>
                  <a:pt x="91213" y="77968"/>
                  <a:pt x="91036" y="77819"/>
                  <a:pt x="90943" y="77633"/>
                </a:cubicBezTo>
                <a:cubicBezTo>
                  <a:pt x="90850" y="77447"/>
                  <a:pt x="90804" y="77242"/>
                  <a:pt x="90804" y="77019"/>
                </a:cubicBezTo>
                <a:lnTo>
                  <a:pt x="90804" y="26510"/>
                </a:lnTo>
                <a:cubicBezTo>
                  <a:pt x="90804" y="26287"/>
                  <a:pt x="90850" y="26083"/>
                  <a:pt x="90943" y="25897"/>
                </a:cubicBezTo>
                <a:cubicBezTo>
                  <a:pt x="91036" y="25711"/>
                  <a:pt x="91213" y="25552"/>
                  <a:pt x="91473" y="25422"/>
                </a:cubicBezTo>
                <a:cubicBezTo>
                  <a:pt x="91734" y="25292"/>
                  <a:pt x="92059" y="25199"/>
                  <a:pt x="92450" y="25143"/>
                </a:cubicBezTo>
                <a:cubicBezTo>
                  <a:pt x="92841" y="25087"/>
                  <a:pt x="93352" y="25059"/>
                  <a:pt x="93985" y="25059"/>
                </a:cubicBezTo>
                <a:cubicBezTo>
                  <a:pt x="94617" y="25059"/>
                  <a:pt x="95138" y="25087"/>
                  <a:pt x="95548" y="25143"/>
                </a:cubicBezTo>
                <a:cubicBezTo>
                  <a:pt x="95957" y="25199"/>
                  <a:pt x="96273" y="25292"/>
                  <a:pt x="96496" y="25422"/>
                </a:cubicBezTo>
                <a:cubicBezTo>
                  <a:pt x="96720" y="25552"/>
                  <a:pt x="96878" y="25711"/>
                  <a:pt x="96971" y="25897"/>
                </a:cubicBezTo>
                <a:cubicBezTo>
                  <a:pt x="97064" y="26083"/>
                  <a:pt x="97110" y="26287"/>
                  <a:pt x="97110" y="26510"/>
                </a:cubicBezTo>
                <a:lnTo>
                  <a:pt x="97110" y="34491"/>
                </a:lnTo>
                <a:cubicBezTo>
                  <a:pt x="98561" y="32371"/>
                  <a:pt x="99901" y="30659"/>
                  <a:pt x="101129" y="29357"/>
                </a:cubicBezTo>
                <a:cubicBezTo>
                  <a:pt x="102356" y="28055"/>
                  <a:pt x="103528" y="27041"/>
                  <a:pt x="104645" y="26315"/>
                </a:cubicBezTo>
                <a:cubicBezTo>
                  <a:pt x="105761" y="25590"/>
                  <a:pt x="106849" y="25097"/>
                  <a:pt x="107910" y="24836"/>
                </a:cubicBezTo>
                <a:cubicBezTo>
                  <a:pt x="108970" y="24576"/>
                  <a:pt x="110058" y="24446"/>
                  <a:pt x="111174" y="24446"/>
                </a:cubicBezTo>
                <a:close/>
                <a:moveTo>
                  <a:pt x="753386" y="11497"/>
                </a:moveTo>
                <a:cubicBezTo>
                  <a:pt x="754056" y="11497"/>
                  <a:pt x="754605" y="11525"/>
                  <a:pt x="755033" y="11581"/>
                </a:cubicBezTo>
                <a:cubicBezTo>
                  <a:pt x="755460" y="11637"/>
                  <a:pt x="755795" y="11730"/>
                  <a:pt x="756037" y="11860"/>
                </a:cubicBezTo>
                <a:cubicBezTo>
                  <a:pt x="756279" y="11990"/>
                  <a:pt x="756456" y="12149"/>
                  <a:pt x="756567" y="12335"/>
                </a:cubicBezTo>
                <a:cubicBezTo>
                  <a:pt x="756679" y="12521"/>
                  <a:pt x="756735" y="12725"/>
                  <a:pt x="756735" y="12949"/>
                </a:cubicBezTo>
                <a:lnTo>
                  <a:pt x="756735" y="25338"/>
                </a:lnTo>
                <a:lnTo>
                  <a:pt x="770687" y="25338"/>
                </a:lnTo>
                <a:cubicBezTo>
                  <a:pt x="770948" y="25338"/>
                  <a:pt x="771180" y="25394"/>
                  <a:pt x="771385" y="25506"/>
                </a:cubicBezTo>
                <a:cubicBezTo>
                  <a:pt x="771590" y="25618"/>
                  <a:pt x="771766" y="25794"/>
                  <a:pt x="771915" y="26036"/>
                </a:cubicBezTo>
                <a:cubicBezTo>
                  <a:pt x="772064" y="26278"/>
                  <a:pt x="772176" y="26576"/>
                  <a:pt x="772250" y="26929"/>
                </a:cubicBezTo>
                <a:cubicBezTo>
                  <a:pt x="772325" y="27283"/>
                  <a:pt x="772362" y="27701"/>
                  <a:pt x="772362" y="28185"/>
                </a:cubicBezTo>
                <a:cubicBezTo>
                  <a:pt x="772362" y="29115"/>
                  <a:pt x="772204" y="29813"/>
                  <a:pt x="771887" y="30278"/>
                </a:cubicBezTo>
                <a:cubicBezTo>
                  <a:pt x="771571" y="30743"/>
                  <a:pt x="771171" y="30975"/>
                  <a:pt x="770687" y="30975"/>
                </a:cubicBezTo>
                <a:lnTo>
                  <a:pt x="756735" y="30975"/>
                </a:lnTo>
                <a:lnTo>
                  <a:pt x="756735" y="61504"/>
                </a:lnTo>
                <a:cubicBezTo>
                  <a:pt x="756735" y="65336"/>
                  <a:pt x="757284" y="68257"/>
                  <a:pt x="758381" y="70266"/>
                </a:cubicBezTo>
                <a:cubicBezTo>
                  <a:pt x="759479" y="72275"/>
                  <a:pt x="761479" y="73280"/>
                  <a:pt x="764381" y="73280"/>
                </a:cubicBezTo>
                <a:cubicBezTo>
                  <a:pt x="765274" y="73280"/>
                  <a:pt x="766083" y="73187"/>
                  <a:pt x="766809" y="73001"/>
                </a:cubicBezTo>
                <a:cubicBezTo>
                  <a:pt x="767534" y="72815"/>
                  <a:pt x="768176" y="72610"/>
                  <a:pt x="768734" y="72387"/>
                </a:cubicBezTo>
                <a:cubicBezTo>
                  <a:pt x="769292" y="72164"/>
                  <a:pt x="769767" y="71959"/>
                  <a:pt x="770157" y="71773"/>
                </a:cubicBezTo>
                <a:cubicBezTo>
                  <a:pt x="770548" y="71587"/>
                  <a:pt x="770892" y="71494"/>
                  <a:pt x="771190" y="71494"/>
                </a:cubicBezTo>
                <a:cubicBezTo>
                  <a:pt x="771376" y="71494"/>
                  <a:pt x="771543" y="71531"/>
                  <a:pt x="771692" y="71605"/>
                </a:cubicBezTo>
                <a:cubicBezTo>
                  <a:pt x="771841" y="71680"/>
                  <a:pt x="771962" y="71819"/>
                  <a:pt x="772055" y="72024"/>
                </a:cubicBezTo>
                <a:cubicBezTo>
                  <a:pt x="772148" y="72229"/>
                  <a:pt x="772222" y="72489"/>
                  <a:pt x="772278" y="72805"/>
                </a:cubicBezTo>
                <a:cubicBezTo>
                  <a:pt x="772334" y="73122"/>
                  <a:pt x="772362" y="73522"/>
                  <a:pt x="772362" y="74005"/>
                </a:cubicBezTo>
                <a:cubicBezTo>
                  <a:pt x="772362" y="74787"/>
                  <a:pt x="772297" y="75419"/>
                  <a:pt x="772166" y="75903"/>
                </a:cubicBezTo>
                <a:cubicBezTo>
                  <a:pt x="772036" y="76387"/>
                  <a:pt x="771832" y="76768"/>
                  <a:pt x="771553" y="77047"/>
                </a:cubicBezTo>
                <a:cubicBezTo>
                  <a:pt x="771273" y="77326"/>
                  <a:pt x="770864" y="77586"/>
                  <a:pt x="770325" y="77828"/>
                </a:cubicBezTo>
                <a:cubicBezTo>
                  <a:pt x="769785" y="78070"/>
                  <a:pt x="769162" y="78275"/>
                  <a:pt x="768455" y="78442"/>
                </a:cubicBezTo>
                <a:cubicBezTo>
                  <a:pt x="767748" y="78610"/>
                  <a:pt x="767004" y="78740"/>
                  <a:pt x="766223" y="78833"/>
                </a:cubicBezTo>
                <a:cubicBezTo>
                  <a:pt x="765441" y="78926"/>
                  <a:pt x="764679" y="78972"/>
                  <a:pt x="763934" y="78972"/>
                </a:cubicBezTo>
                <a:cubicBezTo>
                  <a:pt x="761441" y="78972"/>
                  <a:pt x="759321" y="78638"/>
                  <a:pt x="757572" y="77968"/>
                </a:cubicBezTo>
                <a:cubicBezTo>
                  <a:pt x="755823" y="77298"/>
                  <a:pt x="754391" y="76284"/>
                  <a:pt x="753275" y="74926"/>
                </a:cubicBezTo>
                <a:cubicBezTo>
                  <a:pt x="752158" y="73568"/>
                  <a:pt x="751349" y="71847"/>
                  <a:pt x="750847" y="69764"/>
                </a:cubicBezTo>
                <a:cubicBezTo>
                  <a:pt x="750345" y="67680"/>
                  <a:pt x="750093" y="65224"/>
                  <a:pt x="750093" y="62397"/>
                </a:cubicBezTo>
                <a:lnTo>
                  <a:pt x="750093" y="30975"/>
                </a:lnTo>
                <a:lnTo>
                  <a:pt x="742559" y="30975"/>
                </a:lnTo>
                <a:cubicBezTo>
                  <a:pt x="742038" y="30975"/>
                  <a:pt x="741629" y="30743"/>
                  <a:pt x="741331" y="30278"/>
                </a:cubicBezTo>
                <a:cubicBezTo>
                  <a:pt x="741033" y="29813"/>
                  <a:pt x="740885" y="29115"/>
                  <a:pt x="740885" y="28185"/>
                </a:cubicBezTo>
                <a:cubicBezTo>
                  <a:pt x="740885" y="27701"/>
                  <a:pt x="740922" y="27283"/>
                  <a:pt x="740996" y="26929"/>
                </a:cubicBezTo>
                <a:cubicBezTo>
                  <a:pt x="741071" y="26576"/>
                  <a:pt x="741182" y="26278"/>
                  <a:pt x="741331" y="26036"/>
                </a:cubicBezTo>
                <a:cubicBezTo>
                  <a:pt x="741480" y="25794"/>
                  <a:pt x="741657" y="25618"/>
                  <a:pt x="741861" y="25506"/>
                </a:cubicBezTo>
                <a:cubicBezTo>
                  <a:pt x="742066" y="25394"/>
                  <a:pt x="742298" y="25338"/>
                  <a:pt x="742559" y="25338"/>
                </a:cubicBezTo>
                <a:lnTo>
                  <a:pt x="750093" y="25338"/>
                </a:lnTo>
                <a:lnTo>
                  <a:pt x="750093" y="12949"/>
                </a:lnTo>
                <a:cubicBezTo>
                  <a:pt x="750093" y="12725"/>
                  <a:pt x="750140" y="12521"/>
                  <a:pt x="750233" y="12335"/>
                </a:cubicBezTo>
                <a:cubicBezTo>
                  <a:pt x="750326" y="12149"/>
                  <a:pt x="750503" y="11990"/>
                  <a:pt x="750763" y="11860"/>
                </a:cubicBezTo>
                <a:cubicBezTo>
                  <a:pt x="751023" y="11730"/>
                  <a:pt x="751368" y="11637"/>
                  <a:pt x="751796" y="11581"/>
                </a:cubicBezTo>
                <a:cubicBezTo>
                  <a:pt x="752223" y="11525"/>
                  <a:pt x="752754" y="11497"/>
                  <a:pt x="753386" y="11497"/>
                </a:cubicBezTo>
                <a:close/>
                <a:moveTo>
                  <a:pt x="210461" y="11497"/>
                </a:moveTo>
                <a:cubicBezTo>
                  <a:pt x="211131" y="11497"/>
                  <a:pt x="211680" y="11525"/>
                  <a:pt x="212108" y="11581"/>
                </a:cubicBezTo>
                <a:cubicBezTo>
                  <a:pt x="212536" y="11637"/>
                  <a:pt x="212871" y="11730"/>
                  <a:pt x="213112" y="11860"/>
                </a:cubicBezTo>
                <a:cubicBezTo>
                  <a:pt x="213354" y="11990"/>
                  <a:pt x="213531" y="12149"/>
                  <a:pt x="213643" y="12335"/>
                </a:cubicBezTo>
                <a:cubicBezTo>
                  <a:pt x="213754" y="12521"/>
                  <a:pt x="213810" y="12725"/>
                  <a:pt x="213810" y="12949"/>
                </a:cubicBezTo>
                <a:lnTo>
                  <a:pt x="213810" y="25338"/>
                </a:lnTo>
                <a:lnTo>
                  <a:pt x="227763" y="25338"/>
                </a:lnTo>
                <a:cubicBezTo>
                  <a:pt x="228023" y="25338"/>
                  <a:pt x="228256" y="25394"/>
                  <a:pt x="228460" y="25506"/>
                </a:cubicBezTo>
                <a:cubicBezTo>
                  <a:pt x="228665" y="25618"/>
                  <a:pt x="228842" y="25794"/>
                  <a:pt x="228991" y="26036"/>
                </a:cubicBezTo>
                <a:cubicBezTo>
                  <a:pt x="229139" y="26278"/>
                  <a:pt x="229251" y="26576"/>
                  <a:pt x="229325" y="26929"/>
                </a:cubicBezTo>
                <a:cubicBezTo>
                  <a:pt x="229400" y="27283"/>
                  <a:pt x="229437" y="27701"/>
                  <a:pt x="229437" y="28185"/>
                </a:cubicBezTo>
                <a:cubicBezTo>
                  <a:pt x="229437" y="29115"/>
                  <a:pt x="229279" y="29813"/>
                  <a:pt x="228963" y="30278"/>
                </a:cubicBezTo>
                <a:cubicBezTo>
                  <a:pt x="228646" y="30743"/>
                  <a:pt x="228246" y="30975"/>
                  <a:pt x="227763" y="30975"/>
                </a:cubicBezTo>
                <a:lnTo>
                  <a:pt x="213810" y="30975"/>
                </a:lnTo>
                <a:lnTo>
                  <a:pt x="213810" y="61504"/>
                </a:lnTo>
                <a:cubicBezTo>
                  <a:pt x="213810" y="65336"/>
                  <a:pt x="214359" y="68257"/>
                  <a:pt x="215456" y="70266"/>
                </a:cubicBezTo>
                <a:cubicBezTo>
                  <a:pt x="216554" y="72275"/>
                  <a:pt x="218554" y="73280"/>
                  <a:pt x="221456" y="73280"/>
                </a:cubicBezTo>
                <a:cubicBezTo>
                  <a:pt x="222349" y="73280"/>
                  <a:pt x="223158" y="73187"/>
                  <a:pt x="223884" y="73001"/>
                </a:cubicBezTo>
                <a:cubicBezTo>
                  <a:pt x="224609" y="72815"/>
                  <a:pt x="225251" y="72610"/>
                  <a:pt x="225809" y="72387"/>
                </a:cubicBezTo>
                <a:cubicBezTo>
                  <a:pt x="226367" y="72164"/>
                  <a:pt x="226842" y="71959"/>
                  <a:pt x="227232" y="71773"/>
                </a:cubicBezTo>
                <a:cubicBezTo>
                  <a:pt x="227623" y="71587"/>
                  <a:pt x="227967" y="71494"/>
                  <a:pt x="228265" y="71494"/>
                </a:cubicBezTo>
                <a:cubicBezTo>
                  <a:pt x="228451" y="71494"/>
                  <a:pt x="228618" y="71531"/>
                  <a:pt x="228767" y="71605"/>
                </a:cubicBezTo>
                <a:cubicBezTo>
                  <a:pt x="228916" y="71680"/>
                  <a:pt x="229037" y="71819"/>
                  <a:pt x="229130" y="72024"/>
                </a:cubicBezTo>
                <a:cubicBezTo>
                  <a:pt x="229223" y="72229"/>
                  <a:pt x="229297" y="72489"/>
                  <a:pt x="229353" y="72805"/>
                </a:cubicBezTo>
                <a:cubicBezTo>
                  <a:pt x="229409" y="73122"/>
                  <a:pt x="229437" y="73522"/>
                  <a:pt x="229437" y="74005"/>
                </a:cubicBezTo>
                <a:cubicBezTo>
                  <a:pt x="229437" y="74787"/>
                  <a:pt x="229372" y="75419"/>
                  <a:pt x="229242" y="75903"/>
                </a:cubicBezTo>
                <a:cubicBezTo>
                  <a:pt x="229111" y="76387"/>
                  <a:pt x="228907" y="76768"/>
                  <a:pt x="228628" y="77047"/>
                </a:cubicBezTo>
                <a:cubicBezTo>
                  <a:pt x="228349" y="77326"/>
                  <a:pt x="227939" y="77586"/>
                  <a:pt x="227400" y="77828"/>
                </a:cubicBezTo>
                <a:cubicBezTo>
                  <a:pt x="226860" y="78070"/>
                  <a:pt x="226237" y="78275"/>
                  <a:pt x="225530" y="78442"/>
                </a:cubicBezTo>
                <a:cubicBezTo>
                  <a:pt x="224823" y="78610"/>
                  <a:pt x="224079" y="78740"/>
                  <a:pt x="223298" y="78833"/>
                </a:cubicBezTo>
                <a:cubicBezTo>
                  <a:pt x="222516" y="78926"/>
                  <a:pt x="221754" y="78972"/>
                  <a:pt x="221010" y="78972"/>
                </a:cubicBezTo>
                <a:cubicBezTo>
                  <a:pt x="218517" y="78972"/>
                  <a:pt x="216396" y="78638"/>
                  <a:pt x="214647" y="77968"/>
                </a:cubicBezTo>
                <a:cubicBezTo>
                  <a:pt x="212898" y="77298"/>
                  <a:pt x="211466" y="76284"/>
                  <a:pt x="210350" y="74926"/>
                </a:cubicBezTo>
                <a:cubicBezTo>
                  <a:pt x="209234" y="73568"/>
                  <a:pt x="208424" y="71847"/>
                  <a:pt x="207922" y="69764"/>
                </a:cubicBezTo>
                <a:cubicBezTo>
                  <a:pt x="207420" y="67680"/>
                  <a:pt x="207169" y="65224"/>
                  <a:pt x="207169" y="62397"/>
                </a:cubicBezTo>
                <a:lnTo>
                  <a:pt x="207169" y="30975"/>
                </a:lnTo>
                <a:lnTo>
                  <a:pt x="199634" y="30975"/>
                </a:lnTo>
                <a:cubicBezTo>
                  <a:pt x="199113" y="30975"/>
                  <a:pt x="198704" y="30743"/>
                  <a:pt x="198406" y="30278"/>
                </a:cubicBezTo>
                <a:cubicBezTo>
                  <a:pt x="198109" y="29813"/>
                  <a:pt x="197960" y="29115"/>
                  <a:pt x="197960" y="28185"/>
                </a:cubicBezTo>
                <a:cubicBezTo>
                  <a:pt x="197960" y="27701"/>
                  <a:pt x="197997" y="27283"/>
                  <a:pt x="198071" y="26929"/>
                </a:cubicBezTo>
                <a:cubicBezTo>
                  <a:pt x="198146" y="26576"/>
                  <a:pt x="198258" y="26278"/>
                  <a:pt x="198406" y="26036"/>
                </a:cubicBezTo>
                <a:cubicBezTo>
                  <a:pt x="198555" y="25794"/>
                  <a:pt x="198732" y="25618"/>
                  <a:pt x="198937" y="25506"/>
                </a:cubicBezTo>
                <a:cubicBezTo>
                  <a:pt x="199141" y="25394"/>
                  <a:pt x="199374" y="25338"/>
                  <a:pt x="199634" y="25338"/>
                </a:cubicBezTo>
                <a:lnTo>
                  <a:pt x="207169" y="25338"/>
                </a:lnTo>
                <a:lnTo>
                  <a:pt x="207169" y="12949"/>
                </a:lnTo>
                <a:cubicBezTo>
                  <a:pt x="207169" y="12725"/>
                  <a:pt x="207215" y="12521"/>
                  <a:pt x="207308" y="12335"/>
                </a:cubicBezTo>
                <a:cubicBezTo>
                  <a:pt x="207401" y="12149"/>
                  <a:pt x="207578" y="11990"/>
                  <a:pt x="207838" y="11860"/>
                </a:cubicBezTo>
                <a:cubicBezTo>
                  <a:pt x="208099" y="11730"/>
                  <a:pt x="208443" y="11637"/>
                  <a:pt x="208871" y="11581"/>
                </a:cubicBezTo>
                <a:cubicBezTo>
                  <a:pt x="209299" y="11525"/>
                  <a:pt x="209829" y="11497"/>
                  <a:pt x="210461" y="11497"/>
                </a:cubicBezTo>
                <a:close/>
                <a:moveTo>
                  <a:pt x="58061" y="11497"/>
                </a:moveTo>
                <a:cubicBezTo>
                  <a:pt x="58731" y="11497"/>
                  <a:pt x="59280" y="11525"/>
                  <a:pt x="59708" y="11581"/>
                </a:cubicBezTo>
                <a:cubicBezTo>
                  <a:pt x="60136" y="11637"/>
                  <a:pt x="60471" y="11730"/>
                  <a:pt x="60712" y="11860"/>
                </a:cubicBezTo>
                <a:cubicBezTo>
                  <a:pt x="60954" y="11990"/>
                  <a:pt x="61131" y="12149"/>
                  <a:pt x="61243" y="12335"/>
                </a:cubicBezTo>
                <a:cubicBezTo>
                  <a:pt x="61354" y="12521"/>
                  <a:pt x="61410" y="12725"/>
                  <a:pt x="61410" y="12949"/>
                </a:cubicBezTo>
                <a:lnTo>
                  <a:pt x="61410" y="25338"/>
                </a:lnTo>
                <a:lnTo>
                  <a:pt x="75363" y="25338"/>
                </a:lnTo>
                <a:cubicBezTo>
                  <a:pt x="75623" y="25338"/>
                  <a:pt x="75856" y="25394"/>
                  <a:pt x="76060" y="25506"/>
                </a:cubicBezTo>
                <a:cubicBezTo>
                  <a:pt x="76265" y="25618"/>
                  <a:pt x="76442" y="25794"/>
                  <a:pt x="76591" y="26036"/>
                </a:cubicBezTo>
                <a:cubicBezTo>
                  <a:pt x="76739" y="26278"/>
                  <a:pt x="76851" y="26576"/>
                  <a:pt x="76925" y="26929"/>
                </a:cubicBezTo>
                <a:cubicBezTo>
                  <a:pt x="77000" y="27283"/>
                  <a:pt x="77037" y="27701"/>
                  <a:pt x="77037" y="28185"/>
                </a:cubicBezTo>
                <a:cubicBezTo>
                  <a:pt x="77037" y="29115"/>
                  <a:pt x="76879" y="29813"/>
                  <a:pt x="76563" y="30278"/>
                </a:cubicBezTo>
                <a:cubicBezTo>
                  <a:pt x="76246" y="30743"/>
                  <a:pt x="75846" y="30975"/>
                  <a:pt x="75363" y="30975"/>
                </a:cubicBezTo>
                <a:lnTo>
                  <a:pt x="61410" y="30975"/>
                </a:lnTo>
                <a:lnTo>
                  <a:pt x="61410" y="61504"/>
                </a:lnTo>
                <a:cubicBezTo>
                  <a:pt x="61410" y="65336"/>
                  <a:pt x="61959" y="68257"/>
                  <a:pt x="63056" y="70266"/>
                </a:cubicBezTo>
                <a:cubicBezTo>
                  <a:pt x="64154" y="72275"/>
                  <a:pt x="66154" y="73280"/>
                  <a:pt x="69056" y="73280"/>
                </a:cubicBezTo>
                <a:cubicBezTo>
                  <a:pt x="69949" y="73280"/>
                  <a:pt x="70758" y="73187"/>
                  <a:pt x="71484" y="73001"/>
                </a:cubicBezTo>
                <a:cubicBezTo>
                  <a:pt x="72209" y="72815"/>
                  <a:pt x="72851" y="72610"/>
                  <a:pt x="73409" y="72387"/>
                </a:cubicBezTo>
                <a:cubicBezTo>
                  <a:pt x="73967" y="72164"/>
                  <a:pt x="74442" y="71959"/>
                  <a:pt x="74833" y="71773"/>
                </a:cubicBezTo>
                <a:cubicBezTo>
                  <a:pt x="75223" y="71587"/>
                  <a:pt x="75567" y="71494"/>
                  <a:pt x="75865" y="71494"/>
                </a:cubicBezTo>
                <a:cubicBezTo>
                  <a:pt x="76051" y="71494"/>
                  <a:pt x="76218" y="71531"/>
                  <a:pt x="76367" y="71605"/>
                </a:cubicBezTo>
                <a:cubicBezTo>
                  <a:pt x="76516" y="71680"/>
                  <a:pt x="76637" y="71819"/>
                  <a:pt x="76730" y="72024"/>
                </a:cubicBezTo>
                <a:cubicBezTo>
                  <a:pt x="76823" y="72229"/>
                  <a:pt x="76897" y="72489"/>
                  <a:pt x="76953" y="72805"/>
                </a:cubicBezTo>
                <a:cubicBezTo>
                  <a:pt x="77009" y="73122"/>
                  <a:pt x="77037" y="73522"/>
                  <a:pt x="77037" y="74005"/>
                </a:cubicBezTo>
                <a:cubicBezTo>
                  <a:pt x="77037" y="74787"/>
                  <a:pt x="76972" y="75419"/>
                  <a:pt x="76842" y="75903"/>
                </a:cubicBezTo>
                <a:cubicBezTo>
                  <a:pt x="76711" y="76387"/>
                  <a:pt x="76507" y="76768"/>
                  <a:pt x="76228" y="77047"/>
                </a:cubicBezTo>
                <a:cubicBezTo>
                  <a:pt x="75949" y="77326"/>
                  <a:pt x="75539" y="77586"/>
                  <a:pt x="75000" y="77828"/>
                </a:cubicBezTo>
                <a:cubicBezTo>
                  <a:pt x="74460" y="78070"/>
                  <a:pt x="73837" y="78275"/>
                  <a:pt x="73130" y="78442"/>
                </a:cubicBezTo>
                <a:cubicBezTo>
                  <a:pt x="72423" y="78610"/>
                  <a:pt x="71679" y="78740"/>
                  <a:pt x="70898" y="78833"/>
                </a:cubicBezTo>
                <a:cubicBezTo>
                  <a:pt x="70117" y="78926"/>
                  <a:pt x="69354" y="78972"/>
                  <a:pt x="68610" y="78972"/>
                </a:cubicBezTo>
                <a:cubicBezTo>
                  <a:pt x="66117" y="78972"/>
                  <a:pt x="63996" y="78638"/>
                  <a:pt x="62247" y="77968"/>
                </a:cubicBezTo>
                <a:cubicBezTo>
                  <a:pt x="60498" y="77298"/>
                  <a:pt x="59066" y="76284"/>
                  <a:pt x="57950" y="74926"/>
                </a:cubicBezTo>
                <a:cubicBezTo>
                  <a:pt x="56834" y="73568"/>
                  <a:pt x="56024" y="71847"/>
                  <a:pt x="55522" y="69764"/>
                </a:cubicBezTo>
                <a:cubicBezTo>
                  <a:pt x="55020" y="67680"/>
                  <a:pt x="54769" y="65224"/>
                  <a:pt x="54769" y="62397"/>
                </a:cubicBezTo>
                <a:lnTo>
                  <a:pt x="54769" y="30975"/>
                </a:lnTo>
                <a:lnTo>
                  <a:pt x="47234" y="30975"/>
                </a:lnTo>
                <a:cubicBezTo>
                  <a:pt x="46713" y="30975"/>
                  <a:pt x="46304" y="30743"/>
                  <a:pt x="46006" y="30278"/>
                </a:cubicBezTo>
                <a:cubicBezTo>
                  <a:pt x="45709" y="29813"/>
                  <a:pt x="45560" y="29115"/>
                  <a:pt x="45560" y="28185"/>
                </a:cubicBezTo>
                <a:cubicBezTo>
                  <a:pt x="45560" y="27701"/>
                  <a:pt x="45597" y="27283"/>
                  <a:pt x="45671" y="26929"/>
                </a:cubicBezTo>
                <a:cubicBezTo>
                  <a:pt x="45746" y="26576"/>
                  <a:pt x="45858" y="26278"/>
                  <a:pt x="46006" y="26036"/>
                </a:cubicBezTo>
                <a:cubicBezTo>
                  <a:pt x="46155" y="25794"/>
                  <a:pt x="46332" y="25618"/>
                  <a:pt x="46537" y="25506"/>
                </a:cubicBezTo>
                <a:cubicBezTo>
                  <a:pt x="46741" y="25394"/>
                  <a:pt x="46974" y="25338"/>
                  <a:pt x="47234" y="25338"/>
                </a:cubicBezTo>
                <a:lnTo>
                  <a:pt x="54769" y="25338"/>
                </a:lnTo>
                <a:lnTo>
                  <a:pt x="54769" y="12949"/>
                </a:lnTo>
                <a:cubicBezTo>
                  <a:pt x="54769" y="12725"/>
                  <a:pt x="54815" y="12521"/>
                  <a:pt x="54908" y="12335"/>
                </a:cubicBezTo>
                <a:cubicBezTo>
                  <a:pt x="55001" y="12149"/>
                  <a:pt x="55178" y="11990"/>
                  <a:pt x="55438" y="11860"/>
                </a:cubicBezTo>
                <a:cubicBezTo>
                  <a:pt x="55699" y="11730"/>
                  <a:pt x="56043" y="11637"/>
                  <a:pt x="56471" y="11581"/>
                </a:cubicBezTo>
                <a:cubicBezTo>
                  <a:pt x="56899" y="11525"/>
                  <a:pt x="57429" y="11497"/>
                  <a:pt x="58061" y="11497"/>
                </a:cubicBezTo>
                <a:close/>
                <a:moveTo>
                  <a:pt x="789477" y="4968"/>
                </a:moveTo>
                <a:cubicBezTo>
                  <a:pt x="791114" y="4968"/>
                  <a:pt x="792240" y="5275"/>
                  <a:pt x="792853" y="5888"/>
                </a:cubicBezTo>
                <a:cubicBezTo>
                  <a:pt x="793467" y="6502"/>
                  <a:pt x="793774" y="7702"/>
                  <a:pt x="793774" y="9488"/>
                </a:cubicBezTo>
                <a:cubicBezTo>
                  <a:pt x="793774" y="11274"/>
                  <a:pt x="793458" y="12483"/>
                  <a:pt x="792826" y="13116"/>
                </a:cubicBezTo>
                <a:cubicBezTo>
                  <a:pt x="792193" y="13748"/>
                  <a:pt x="791040" y="14065"/>
                  <a:pt x="789365" y="14065"/>
                </a:cubicBezTo>
                <a:cubicBezTo>
                  <a:pt x="787728" y="14065"/>
                  <a:pt x="786603" y="13758"/>
                  <a:pt x="785989" y="13144"/>
                </a:cubicBezTo>
                <a:cubicBezTo>
                  <a:pt x="785375" y="12530"/>
                  <a:pt x="785068" y="11330"/>
                  <a:pt x="785068" y="9544"/>
                </a:cubicBezTo>
                <a:cubicBezTo>
                  <a:pt x="785068" y="7758"/>
                  <a:pt x="785384" y="6549"/>
                  <a:pt x="786017" y="5916"/>
                </a:cubicBezTo>
                <a:cubicBezTo>
                  <a:pt x="786649" y="5284"/>
                  <a:pt x="787803" y="4968"/>
                  <a:pt x="789477" y="4968"/>
                </a:cubicBezTo>
                <a:close/>
                <a:moveTo>
                  <a:pt x="551352" y="4968"/>
                </a:moveTo>
                <a:cubicBezTo>
                  <a:pt x="552989" y="4968"/>
                  <a:pt x="554115" y="5275"/>
                  <a:pt x="554729" y="5888"/>
                </a:cubicBezTo>
                <a:cubicBezTo>
                  <a:pt x="555342" y="6502"/>
                  <a:pt x="555649" y="7702"/>
                  <a:pt x="555649" y="9488"/>
                </a:cubicBezTo>
                <a:cubicBezTo>
                  <a:pt x="555649" y="11274"/>
                  <a:pt x="555333" y="12483"/>
                  <a:pt x="554701" y="13116"/>
                </a:cubicBezTo>
                <a:cubicBezTo>
                  <a:pt x="554068" y="13748"/>
                  <a:pt x="552915" y="14065"/>
                  <a:pt x="551240" y="14065"/>
                </a:cubicBezTo>
                <a:cubicBezTo>
                  <a:pt x="549603" y="14065"/>
                  <a:pt x="548478" y="13758"/>
                  <a:pt x="547864" y="13144"/>
                </a:cubicBezTo>
                <a:cubicBezTo>
                  <a:pt x="547250" y="12530"/>
                  <a:pt x="546943" y="11330"/>
                  <a:pt x="546943" y="9544"/>
                </a:cubicBezTo>
                <a:cubicBezTo>
                  <a:pt x="546943" y="7758"/>
                  <a:pt x="547259" y="6549"/>
                  <a:pt x="547892" y="5916"/>
                </a:cubicBezTo>
                <a:cubicBezTo>
                  <a:pt x="548524" y="5284"/>
                  <a:pt x="549678" y="4968"/>
                  <a:pt x="551352" y="4968"/>
                </a:cubicBezTo>
                <a:close/>
                <a:moveTo>
                  <a:pt x="132252" y="4968"/>
                </a:moveTo>
                <a:cubicBezTo>
                  <a:pt x="133889" y="4968"/>
                  <a:pt x="135015" y="5275"/>
                  <a:pt x="135629" y="5888"/>
                </a:cubicBezTo>
                <a:cubicBezTo>
                  <a:pt x="136243" y="6502"/>
                  <a:pt x="136550" y="7702"/>
                  <a:pt x="136550" y="9488"/>
                </a:cubicBezTo>
                <a:cubicBezTo>
                  <a:pt x="136550" y="11274"/>
                  <a:pt x="136233" y="12483"/>
                  <a:pt x="135601" y="13116"/>
                </a:cubicBezTo>
                <a:cubicBezTo>
                  <a:pt x="134968" y="13748"/>
                  <a:pt x="133815" y="14065"/>
                  <a:pt x="132141" y="14065"/>
                </a:cubicBezTo>
                <a:cubicBezTo>
                  <a:pt x="130504" y="14065"/>
                  <a:pt x="129378" y="13758"/>
                  <a:pt x="128764" y="13144"/>
                </a:cubicBezTo>
                <a:cubicBezTo>
                  <a:pt x="128150" y="12530"/>
                  <a:pt x="127843" y="11330"/>
                  <a:pt x="127843" y="9544"/>
                </a:cubicBezTo>
                <a:cubicBezTo>
                  <a:pt x="127843" y="7758"/>
                  <a:pt x="128159" y="6549"/>
                  <a:pt x="128792" y="5916"/>
                </a:cubicBezTo>
                <a:cubicBezTo>
                  <a:pt x="129425" y="5284"/>
                  <a:pt x="130578" y="4968"/>
                  <a:pt x="132252" y="4968"/>
                </a:cubicBezTo>
                <a:close/>
                <a:moveTo>
                  <a:pt x="22771" y="4968"/>
                </a:moveTo>
                <a:cubicBezTo>
                  <a:pt x="24296" y="4968"/>
                  <a:pt x="25840" y="5116"/>
                  <a:pt x="27403" y="5414"/>
                </a:cubicBezTo>
                <a:cubicBezTo>
                  <a:pt x="28966" y="5712"/>
                  <a:pt x="30445" y="6093"/>
                  <a:pt x="31840" y="6558"/>
                </a:cubicBezTo>
                <a:cubicBezTo>
                  <a:pt x="33235" y="7023"/>
                  <a:pt x="34481" y="7544"/>
                  <a:pt x="35579" y="8121"/>
                </a:cubicBezTo>
                <a:cubicBezTo>
                  <a:pt x="36677" y="8698"/>
                  <a:pt x="37402" y="9163"/>
                  <a:pt x="37756" y="9516"/>
                </a:cubicBezTo>
                <a:cubicBezTo>
                  <a:pt x="38109" y="9870"/>
                  <a:pt x="38332" y="10130"/>
                  <a:pt x="38425" y="10298"/>
                </a:cubicBezTo>
                <a:cubicBezTo>
                  <a:pt x="38518" y="10465"/>
                  <a:pt x="38602" y="10679"/>
                  <a:pt x="38677" y="10939"/>
                </a:cubicBezTo>
                <a:cubicBezTo>
                  <a:pt x="38751" y="11200"/>
                  <a:pt x="38807" y="11507"/>
                  <a:pt x="38844" y="11860"/>
                </a:cubicBezTo>
                <a:cubicBezTo>
                  <a:pt x="38881" y="12214"/>
                  <a:pt x="38900" y="12651"/>
                  <a:pt x="38900" y="13172"/>
                </a:cubicBezTo>
                <a:cubicBezTo>
                  <a:pt x="38900" y="13655"/>
                  <a:pt x="38872" y="14093"/>
                  <a:pt x="38816" y="14483"/>
                </a:cubicBezTo>
                <a:cubicBezTo>
                  <a:pt x="38760" y="14874"/>
                  <a:pt x="38677" y="15209"/>
                  <a:pt x="38565" y="15488"/>
                </a:cubicBezTo>
                <a:cubicBezTo>
                  <a:pt x="38453" y="15767"/>
                  <a:pt x="38314" y="15981"/>
                  <a:pt x="38146" y="16130"/>
                </a:cubicBezTo>
                <a:cubicBezTo>
                  <a:pt x="37979" y="16279"/>
                  <a:pt x="37784" y="16353"/>
                  <a:pt x="37560" y="16353"/>
                </a:cubicBezTo>
                <a:cubicBezTo>
                  <a:pt x="37151" y="16353"/>
                  <a:pt x="36528" y="16083"/>
                  <a:pt x="35691" y="15544"/>
                </a:cubicBezTo>
                <a:cubicBezTo>
                  <a:pt x="34854" y="15004"/>
                  <a:pt x="33802" y="14400"/>
                  <a:pt x="32537" y="13730"/>
                </a:cubicBezTo>
                <a:cubicBezTo>
                  <a:pt x="31272" y="13060"/>
                  <a:pt x="29765" y="12456"/>
                  <a:pt x="28017" y="11916"/>
                </a:cubicBezTo>
                <a:cubicBezTo>
                  <a:pt x="26268" y="11377"/>
                  <a:pt x="24277" y="11107"/>
                  <a:pt x="22045" y="11107"/>
                </a:cubicBezTo>
                <a:cubicBezTo>
                  <a:pt x="19850" y="11107"/>
                  <a:pt x="17934" y="11404"/>
                  <a:pt x="16297" y="12000"/>
                </a:cubicBezTo>
                <a:cubicBezTo>
                  <a:pt x="14659" y="12595"/>
                  <a:pt x="13301" y="13404"/>
                  <a:pt x="12222" y="14428"/>
                </a:cubicBezTo>
                <a:cubicBezTo>
                  <a:pt x="11143" y="15451"/>
                  <a:pt x="10334" y="16651"/>
                  <a:pt x="9795" y="18027"/>
                </a:cubicBezTo>
                <a:cubicBezTo>
                  <a:pt x="9255" y="19404"/>
                  <a:pt x="8985" y="20855"/>
                  <a:pt x="8985" y="22381"/>
                </a:cubicBezTo>
                <a:cubicBezTo>
                  <a:pt x="8985" y="24613"/>
                  <a:pt x="9469" y="26529"/>
                  <a:pt x="10436" y="28129"/>
                </a:cubicBezTo>
                <a:cubicBezTo>
                  <a:pt x="11404" y="29729"/>
                  <a:pt x="12687" y="31143"/>
                  <a:pt x="14287" y="32371"/>
                </a:cubicBezTo>
                <a:cubicBezTo>
                  <a:pt x="15887" y="33598"/>
                  <a:pt x="17701" y="34705"/>
                  <a:pt x="19729" y="35691"/>
                </a:cubicBezTo>
                <a:cubicBezTo>
                  <a:pt x="21757" y="36677"/>
                  <a:pt x="23822" y="37663"/>
                  <a:pt x="25924" y="38649"/>
                </a:cubicBezTo>
                <a:cubicBezTo>
                  <a:pt x="28026" y="39635"/>
                  <a:pt x="30091" y="40696"/>
                  <a:pt x="32119" y="41830"/>
                </a:cubicBezTo>
                <a:cubicBezTo>
                  <a:pt x="34147" y="42965"/>
                  <a:pt x="35960" y="44305"/>
                  <a:pt x="37560" y="45849"/>
                </a:cubicBezTo>
                <a:cubicBezTo>
                  <a:pt x="39160" y="47393"/>
                  <a:pt x="40444" y="49197"/>
                  <a:pt x="41411" y="51262"/>
                </a:cubicBezTo>
                <a:cubicBezTo>
                  <a:pt x="42379" y="53327"/>
                  <a:pt x="42862" y="55774"/>
                  <a:pt x="42862" y="58602"/>
                </a:cubicBezTo>
                <a:cubicBezTo>
                  <a:pt x="42862" y="61801"/>
                  <a:pt x="42286" y="64666"/>
                  <a:pt x="41132" y="67196"/>
                </a:cubicBezTo>
                <a:cubicBezTo>
                  <a:pt x="39979" y="69726"/>
                  <a:pt x="38360" y="71875"/>
                  <a:pt x="36277" y="73642"/>
                </a:cubicBezTo>
                <a:cubicBezTo>
                  <a:pt x="34193" y="75410"/>
                  <a:pt x="31719" y="76759"/>
                  <a:pt x="28854" y="77689"/>
                </a:cubicBezTo>
                <a:cubicBezTo>
                  <a:pt x="25989" y="78619"/>
                  <a:pt x="22864" y="79084"/>
                  <a:pt x="19478" y="79084"/>
                </a:cubicBezTo>
                <a:cubicBezTo>
                  <a:pt x="17171" y="79084"/>
                  <a:pt x="14994" y="78870"/>
                  <a:pt x="12948" y="78442"/>
                </a:cubicBezTo>
                <a:cubicBezTo>
                  <a:pt x="10902" y="78014"/>
                  <a:pt x="9078" y="77503"/>
                  <a:pt x="7478" y="76907"/>
                </a:cubicBezTo>
                <a:cubicBezTo>
                  <a:pt x="5879" y="76312"/>
                  <a:pt x="4530" y="75707"/>
                  <a:pt x="3432" y="75094"/>
                </a:cubicBezTo>
                <a:cubicBezTo>
                  <a:pt x="2335" y="74480"/>
                  <a:pt x="1581" y="73959"/>
                  <a:pt x="1172" y="73531"/>
                </a:cubicBezTo>
                <a:cubicBezTo>
                  <a:pt x="763" y="73103"/>
                  <a:pt x="465" y="72601"/>
                  <a:pt x="279" y="72024"/>
                </a:cubicBezTo>
                <a:cubicBezTo>
                  <a:pt x="93" y="71447"/>
                  <a:pt x="0" y="70731"/>
                  <a:pt x="0" y="69875"/>
                </a:cubicBezTo>
                <a:cubicBezTo>
                  <a:pt x="0" y="69243"/>
                  <a:pt x="37" y="68722"/>
                  <a:pt x="111" y="68313"/>
                </a:cubicBezTo>
                <a:cubicBezTo>
                  <a:pt x="186" y="67903"/>
                  <a:pt x="288" y="67568"/>
                  <a:pt x="418" y="67308"/>
                </a:cubicBezTo>
                <a:cubicBezTo>
                  <a:pt x="549" y="67048"/>
                  <a:pt x="716" y="66871"/>
                  <a:pt x="921" y="66778"/>
                </a:cubicBezTo>
                <a:cubicBezTo>
                  <a:pt x="1125" y="66685"/>
                  <a:pt x="1339" y="66638"/>
                  <a:pt x="1563" y="66638"/>
                </a:cubicBezTo>
                <a:cubicBezTo>
                  <a:pt x="2083" y="66638"/>
                  <a:pt x="2818" y="66964"/>
                  <a:pt x="3767" y="67615"/>
                </a:cubicBezTo>
                <a:cubicBezTo>
                  <a:pt x="4716" y="68266"/>
                  <a:pt x="5944" y="68973"/>
                  <a:pt x="7451" y="69736"/>
                </a:cubicBezTo>
                <a:cubicBezTo>
                  <a:pt x="8957" y="70499"/>
                  <a:pt x="10762" y="71205"/>
                  <a:pt x="12864" y="71857"/>
                </a:cubicBezTo>
                <a:cubicBezTo>
                  <a:pt x="14966" y="72508"/>
                  <a:pt x="17413" y="72833"/>
                  <a:pt x="20203" y="72833"/>
                </a:cubicBezTo>
                <a:cubicBezTo>
                  <a:pt x="22473" y="72833"/>
                  <a:pt x="24557" y="72526"/>
                  <a:pt x="26454" y="71912"/>
                </a:cubicBezTo>
                <a:cubicBezTo>
                  <a:pt x="28352" y="71298"/>
                  <a:pt x="29989" y="70415"/>
                  <a:pt x="31365" y="69261"/>
                </a:cubicBezTo>
                <a:cubicBezTo>
                  <a:pt x="32742" y="68108"/>
                  <a:pt x="33812" y="66685"/>
                  <a:pt x="34574" y="64992"/>
                </a:cubicBezTo>
                <a:cubicBezTo>
                  <a:pt x="35337" y="63299"/>
                  <a:pt x="35719" y="61373"/>
                  <a:pt x="35719" y="59215"/>
                </a:cubicBezTo>
                <a:cubicBezTo>
                  <a:pt x="35719" y="56983"/>
                  <a:pt x="35235" y="55067"/>
                  <a:pt x="34268" y="53467"/>
                </a:cubicBezTo>
                <a:cubicBezTo>
                  <a:pt x="33300" y="51867"/>
                  <a:pt x="32026" y="50463"/>
                  <a:pt x="30445" y="49253"/>
                </a:cubicBezTo>
                <a:cubicBezTo>
                  <a:pt x="28863" y="48044"/>
                  <a:pt x="27068" y="46946"/>
                  <a:pt x="25059" y="45960"/>
                </a:cubicBezTo>
                <a:cubicBezTo>
                  <a:pt x="23050" y="44974"/>
                  <a:pt x="20994" y="43988"/>
                  <a:pt x="18892" y="43003"/>
                </a:cubicBezTo>
                <a:cubicBezTo>
                  <a:pt x="16790" y="42017"/>
                  <a:pt x="14734" y="40947"/>
                  <a:pt x="12725" y="39793"/>
                </a:cubicBezTo>
                <a:cubicBezTo>
                  <a:pt x="10715" y="38640"/>
                  <a:pt x="8920" y="37291"/>
                  <a:pt x="7339" y="35747"/>
                </a:cubicBezTo>
                <a:cubicBezTo>
                  <a:pt x="5758" y="34203"/>
                  <a:pt x="4483" y="32389"/>
                  <a:pt x="3516" y="30306"/>
                </a:cubicBezTo>
                <a:cubicBezTo>
                  <a:pt x="2549" y="28222"/>
                  <a:pt x="2065" y="25748"/>
                  <a:pt x="2065" y="22883"/>
                </a:cubicBezTo>
                <a:cubicBezTo>
                  <a:pt x="2065" y="20092"/>
                  <a:pt x="2567" y="17590"/>
                  <a:pt x="3572" y="15376"/>
                </a:cubicBezTo>
                <a:cubicBezTo>
                  <a:pt x="4576" y="13162"/>
                  <a:pt x="5990" y="11284"/>
                  <a:pt x="7813" y="9739"/>
                </a:cubicBezTo>
                <a:cubicBezTo>
                  <a:pt x="9636" y="8195"/>
                  <a:pt x="11822" y="7014"/>
                  <a:pt x="14371" y="6195"/>
                </a:cubicBezTo>
                <a:cubicBezTo>
                  <a:pt x="16920" y="5377"/>
                  <a:pt x="19720" y="4968"/>
                  <a:pt x="22771" y="4968"/>
                </a:cubicBezTo>
                <a:close/>
                <a:moveTo>
                  <a:pt x="613971" y="614"/>
                </a:moveTo>
                <a:cubicBezTo>
                  <a:pt x="614641" y="614"/>
                  <a:pt x="615190" y="651"/>
                  <a:pt x="615618" y="726"/>
                </a:cubicBezTo>
                <a:cubicBezTo>
                  <a:pt x="616046" y="800"/>
                  <a:pt x="616381" y="893"/>
                  <a:pt x="616622" y="1005"/>
                </a:cubicBezTo>
                <a:cubicBezTo>
                  <a:pt x="616864" y="1117"/>
                  <a:pt x="617041" y="1265"/>
                  <a:pt x="617153" y="1451"/>
                </a:cubicBezTo>
                <a:cubicBezTo>
                  <a:pt x="617264" y="1637"/>
                  <a:pt x="617320" y="1842"/>
                  <a:pt x="617320" y="2065"/>
                </a:cubicBezTo>
                <a:lnTo>
                  <a:pt x="617320" y="77019"/>
                </a:lnTo>
                <a:cubicBezTo>
                  <a:pt x="617320" y="77279"/>
                  <a:pt x="617274" y="77503"/>
                  <a:pt x="617181" y="77689"/>
                </a:cubicBezTo>
                <a:cubicBezTo>
                  <a:pt x="617087" y="77875"/>
                  <a:pt x="616920" y="78024"/>
                  <a:pt x="616678" y="78135"/>
                </a:cubicBezTo>
                <a:cubicBezTo>
                  <a:pt x="616436" y="78247"/>
                  <a:pt x="616129" y="78331"/>
                  <a:pt x="615757" y="78386"/>
                </a:cubicBezTo>
                <a:cubicBezTo>
                  <a:pt x="615385" y="78442"/>
                  <a:pt x="614920" y="78470"/>
                  <a:pt x="614362" y="78470"/>
                </a:cubicBezTo>
                <a:cubicBezTo>
                  <a:pt x="613767" y="78470"/>
                  <a:pt x="613274" y="78442"/>
                  <a:pt x="612883" y="78386"/>
                </a:cubicBezTo>
                <a:cubicBezTo>
                  <a:pt x="612492" y="78331"/>
                  <a:pt x="612176" y="78247"/>
                  <a:pt x="611934" y="78135"/>
                </a:cubicBezTo>
                <a:cubicBezTo>
                  <a:pt x="611693" y="78024"/>
                  <a:pt x="611506" y="77875"/>
                  <a:pt x="611376" y="77689"/>
                </a:cubicBezTo>
                <a:cubicBezTo>
                  <a:pt x="611246" y="77503"/>
                  <a:pt x="611181" y="77279"/>
                  <a:pt x="611181" y="77019"/>
                </a:cubicBezTo>
                <a:lnTo>
                  <a:pt x="611181" y="69764"/>
                </a:lnTo>
                <a:cubicBezTo>
                  <a:pt x="608502" y="72666"/>
                  <a:pt x="605730" y="74945"/>
                  <a:pt x="602865" y="76600"/>
                </a:cubicBezTo>
                <a:cubicBezTo>
                  <a:pt x="600000" y="78256"/>
                  <a:pt x="596875" y="79084"/>
                  <a:pt x="593489" y="79084"/>
                </a:cubicBezTo>
                <a:cubicBezTo>
                  <a:pt x="589843" y="79084"/>
                  <a:pt x="586736" y="78377"/>
                  <a:pt x="584169" y="76963"/>
                </a:cubicBezTo>
                <a:cubicBezTo>
                  <a:pt x="581601" y="75549"/>
                  <a:pt x="579508" y="73633"/>
                  <a:pt x="577890" y="71215"/>
                </a:cubicBezTo>
                <a:cubicBezTo>
                  <a:pt x="576271" y="68796"/>
                  <a:pt x="575090" y="65959"/>
                  <a:pt x="574346" y="62704"/>
                </a:cubicBezTo>
                <a:cubicBezTo>
                  <a:pt x="573602" y="59448"/>
                  <a:pt x="573230" y="55997"/>
                  <a:pt x="573230" y="52351"/>
                </a:cubicBezTo>
                <a:cubicBezTo>
                  <a:pt x="573230" y="48072"/>
                  <a:pt x="573695" y="44212"/>
                  <a:pt x="574625" y="40770"/>
                </a:cubicBezTo>
                <a:cubicBezTo>
                  <a:pt x="575555" y="37328"/>
                  <a:pt x="576932" y="34398"/>
                  <a:pt x="578755" y="31980"/>
                </a:cubicBezTo>
                <a:cubicBezTo>
                  <a:pt x="580578" y="29561"/>
                  <a:pt x="582829" y="27701"/>
                  <a:pt x="585508" y="26399"/>
                </a:cubicBezTo>
                <a:cubicBezTo>
                  <a:pt x="588187" y="25097"/>
                  <a:pt x="591294" y="24446"/>
                  <a:pt x="594828" y="24446"/>
                </a:cubicBezTo>
                <a:cubicBezTo>
                  <a:pt x="597879" y="24446"/>
                  <a:pt x="600670" y="25125"/>
                  <a:pt x="603200" y="26483"/>
                </a:cubicBezTo>
                <a:cubicBezTo>
                  <a:pt x="605730" y="27841"/>
                  <a:pt x="608223" y="29841"/>
                  <a:pt x="610679" y="32482"/>
                </a:cubicBezTo>
                <a:lnTo>
                  <a:pt x="610679" y="2065"/>
                </a:lnTo>
                <a:cubicBezTo>
                  <a:pt x="610679" y="1842"/>
                  <a:pt x="610725" y="1637"/>
                  <a:pt x="610818" y="1451"/>
                </a:cubicBezTo>
                <a:cubicBezTo>
                  <a:pt x="610911" y="1265"/>
                  <a:pt x="611088" y="1117"/>
                  <a:pt x="611348" y="1005"/>
                </a:cubicBezTo>
                <a:cubicBezTo>
                  <a:pt x="611609" y="893"/>
                  <a:pt x="611953" y="800"/>
                  <a:pt x="612381" y="726"/>
                </a:cubicBezTo>
                <a:cubicBezTo>
                  <a:pt x="612809" y="651"/>
                  <a:pt x="613339" y="614"/>
                  <a:pt x="613971" y="614"/>
                </a:cubicBezTo>
                <a:close/>
                <a:moveTo>
                  <a:pt x="875146" y="335"/>
                </a:moveTo>
                <a:cubicBezTo>
                  <a:pt x="875816" y="335"/>
                  <a:pt x="876365" y="363"/>
                  <a:pt x="876793" y="419"/>
                </a:cubicBezTo>
                <a:cubicBezTo>
                  <a:pt x="877220" y="475"/>
                  <a:pt x="877555" y="568"/>
                  <a:pt x="877797" y="698"/>
                </a:cubicBezTo>
                <a:cubicBezTo>
                  <a:pt x="878039" y="828"/>
                  <a:pt x="878216" y="986"/>
                  <a:pt x="878327" y="1172"/>
                </a:cubicBezTo>
                <a:cubicBezTo>
                  <a:pt x="878439" y="1358"/>
                  <a:pt x="878495" y="1563"/>
                  <a:pt x="878495" y="1786"/>
                </a:cubicBezTo>
                <a:lnTo>
                  <a:pt x="878495" y="77019"/>
                </a:lnTo>
                <a:cubicBezTo>
                  <a:pt x="878495" y="77242"/>
                  <a:pt x="878439" y="77447"/>
                  <a:pt x="878327" y="77633"/>
                </a:cubicBezTo>
                <a:cubicBezTo>
                  <a:pt x="878216" y="77819"/>
                  <a:pt x="878039" y="77968"/>
                  <a:pt x="877797" y="78079"/>
                </a:cubicBezTo>
                <a:cubicBezTo>
                  <a:pt x="877555" y="78191"/>
                  <a:pt x="877220" y="78284"/>
                  <a:pt x="876793" y="78358"/>
                </a:cubicBezTo>
                <a:cubicBezTo>
                  <a:pt x="876365" y="78433"/>
                  <a:pt x="875816" y="78470"/>
                  <a:pt x="875146" y="78470"/>
                </a:cubicBezTo>
                <a:cubicBezTo>
                  <a:pt x="874514" y="78470"/>
                  <a:pt x="873983" y="78433"/>
                  <a:pt x="873556" y="78358"/>
                </a:cubicBezTo>
                <a:cubicBezTo>
                  <a:pt x="873128" y="78284"/>
                  <a:pt x="872783" y="78191"/>
                  <a:pt x="872523" y="78079"/>
                </a:cubicBezTo>
                <a:cubicBezTo>
                  <a:pt x="872263" y="77968"/>
                  <a:pt x="872086" y="77819"/>
                  <a:pt x="871993" y="77633"/>
                </a:cubicBezTo>
                <a:cubicBezTo>
                  <a:pt x="871900" y="77447"/>
                  <a:pt x="871853" y="77242"/>
                  <a:pt x="871853" y="77019"/>
                </a:cubicBezTo>
                <a:lnTo>
                  <a:pt x="871853" y="1786"/>
                </a:lnTo>
                <a:cubicBezTo>
                  <a:pt x="871853" y="1563"/>
                  <a:pt x="871900" y="1358"/>
                  <a:pt x="871993" y="1172"/>
                </a:cubicBezTo>
                <a:cubicBezTo>
                  <a:pt x="872086" y="986"/>
                  <a:pt x="872263" y="828"/>
                  <a:pt x="872523" y="698"/>
                </a:cubicBezTo>
                <a:cubicBezTo>
                  <a:pt x="872783" y="568"/>
                  <a:pt x="873128" y="475"/>
                  <a:pt x="873556" y="419"/>
                </a:cubicBezTo>
                <a:cubicBezTo>
                  <a:pt x="873983" y="363"/>
                  <a:pt x="874514" y="335"/>
                  <a:pt x="875146" y="335"/>
                </a:cubicBezTo>
                <a:close/>
                <a:moveTo>
                  <a:pt x="246496" y="335"/>
                </a:moveTo>
                <a:cubicBezTo>
                  <a:pt x="247166" y="335"/>
                  <a:pt x="247715" y="363"/>
                  <a:pt x="248143" y="419"/>
                </a:cubicBezTo>
                <a:cubicBezTo>
                  <a:pt x="248571" y="475"/>
                  <a:pt x="248906" y="568"/>
                  <a:pt x="249147" y="698"/>
                </a:cubicBezTo>
                <a:cubicBezTo>
                  <a:pt x="249389" y="828"/>
                  <a:pt x="249566" y="986"/>
                  <a:pt x="249678" y="1172"/>
                </a:cubicBezTo>
                <a:cubicBezTo>
                  <a:pt x="249789" y="1358"/>
                  <a:pt x="249845" y="1563"/>
                  <a:pt x="249845" y="1786"/>
                </a:cubicBezTo>
                <a:lnTo>
                  <a:pt x="249845" y="77019"/>
                </a:lnTo>
                <a:cubicBezTo>
                  <a:pt x="249845" y="77242"/>
                  <a:pt x="249789" y="77447"/>
                  <a:pt x="249678" y="77633"/>
                </a:cubicBezTo>
                <a:cubicBezTo>
                  <a:pt x="249566" y="77819"/>
                  <a:pt x="249389" y="77968"/>
                  <a:pt x="249147" y="78079"/>
                </a:cubicBezTo>
                <a:cubicBezTo>
                  <a:pt x="248906" y="78191"/>
                  <a:pt x="248571" y="78284"/>
                  <a:pt x="248143" y="78358"/>
                </a:cubicBezTo>
                <a:cubicBezTo>
                  <a:pt x="247715" y="78433"/>
                  <a:pt x="247166" y="78470"/>
                  <a:pt x="246496" y="78470"/>
                </a:cubicBezTo>
                <a:cubicBezTo>
                  <a:pt x="245864" y="78470"/>
                  <a:pt x="245334" y="78433"/>
                  <a:pt x="244906" y="78358"/>
                </a:cubicBezTo>
                <a:cubicBezTo>
                  <a:pt x="244478" y="78284"/>
                  <a:pt x="244134" y="78191"/>
                  <a:pt x="243873" y="78079"/>
                </a:cubicBezTo>
                <a:cubicBezTo>
                  <a:pt x="243613" y="77968"/>
                  <a:pt x="243436" y="77819"/>
                  <a:pt x="243343" y="77633"/>
                </a:cubicBezTo>
                <a:cubicBezTo>
                  <a:pt x="243250" y="77447"/>
                  <a:pt x="243204" y="77242"/>
                  <a:pt x="243204" y="77019"/>
                </a:cubicBezTo>
                <a:lnTo>
                  <a:pt x="243204" y="1786"/>
                </a:lnTo>
                <a:cubicBezTo>
                  <a:pt x="243204" y="1563"/>
                  <a:pt x="243250" y="1358"/>
                  <a:pt x="243343" y="1172"/>
                </a:cubicBezTo>
                <a:cubicBezTo>
                  <a:pt x="243436" y="986"/>
                  <a:pt x="243613" y="828"/>
                  <a:pt x="243873" y="698"/>
                </a:cubicBezTo>
                <a:cubicBezTo>
                  <a:pt x="244134" y="568"/>
                  <a:pt x="244478" y="475"/>
                  <a:pt x="244906" y="419"/>
                </a:cubicBezTo>
                <a:cubicBezTo>
                  <a:pt x="245334" y="363"/>
                  <a:pt x="245864" y="335"/>
                  <a:pt x="246496" y="335"/>
                </a:cubicBezTo>
                <a:close/>
                <a:moveTo>
                  <a:pt x="527595" y="0"/>
                </a:moveTo>
                <a:cubicBezTo>
                  <a:pt x="528860" y="0"/>
                  <a:pt x="530088" y="121"/>
                  <a:pt x="531279" y="363"/>
                </a:cubicBezTo>
                <a:cubicBezTo>
                  <a:pt x="532469" y="605"/>
                  <a:pt x="533372" y="865"/>
                  <a:pt x="533986" y="1144"/>
                </a:cubicBezTo>
                <a:cubicBezTo>
                  <a:pt x="534599" y="1424"/>
                  <a:pt x="535009" y="1665"/>
                  <a:pt x="535213" y="1870"/>
                </a:cubicBezTo>
                <a:cubicBezTo>
                  <a:pt x="535418" y="2075"/>
                  <a:pt x="535585" y="2326"/>
                  <a:pt x="535716" y="2623"/>
                </a:cubicBezTo>
                <a:cubicBezTo>
                  <a:pt x="535846" y="2921"/>
                  <a:pt x="535939" y="3265"/>
                  <a:pt x="535995" y="3656"/>
                </a:cubicBezTo>
                <a:cubicBezTo>
                  <a:pt x="536051" y="4047"/>
                  <a:pt x="536079" y="4484"/>
                  <a:pt x="536079" y="4968"/>
                </a:cubicBezTo>
                <a:cubicBezTo>
                  <a:pt x="536079" y="5489"/>
                  <a:pt x="536051" y="5907"/>
                  <a:pt x="535995" y="6223"/>
                </a:cubicBezTo>
                <a:cubicBezTo>
                  <a:pt x="535939" y="6540"/>
                  <a:pt x="535865" y="6791"/>
                  <a:pt x="535772" y="6977"/>
                </a:cubicBezTo>
                <a:cubicBezTo>
                  <a:pt x="535679" y="7163"/>
                  <a:pt x="535567" y="7293"/>
                  <a:pt x="535437" y="7367"/>
                </a:cubicBezTo>
                <a:cubicBezTo>
                  <a:pt x="535306" y="7442"/>
                  <a:pt x="535148" y="7479"/>
                  <a:pt x="534962" y="7479"/>
                </a:cubicBezTo>
                <a:cubicBezTo>
                  <a:pt x="534665" y="7479"/>
                  <a:pt x="534311" y="7386"/>
                  <a:pt x="533902" y="7200"/>
                </a:cubicBezTo>
                <a:cubicBezTo>
                  <a:pt x="533493" y="7014"/>
                  <a:pt x="532981" y="6809"/>
                  <a:pt x="532367" y="6586"/>
                </a:cubicBezTo>
                <a:cubicBezTo>
                  <a:pt x="531753" y="6363"/>
                  <a:pt x="531028" y="6158"/>
                  <a:pt x="530191" y="5972"/>
                </a:cubicBezTo>
                <a:cubicBezTo>
                  <a:pt x="529353" y="5786"/>
                  <a:pt x="528377" y="5693"/>
                  <a:pt x="527260" y="5693"/>
                </a:cubicBezTo>
                <a:cubicBezTo>
                  <a:pt x="525698" y="5693"/>
                  <a:pt x="524377" y="5944"/>
                  <a:pt x="523298" y="6447"/>
                </a:cubicBezTo>
                <a:cubicBezTo>
                  <a:pt x="522219" y="6949"/>
                  <a:pt x="521345" y="7749"/>
                  <a:pt x="520675" y="8846"/>
                </a:cubicBezTo>
                <a:cubicBezTo>
                  <a:pt x="520005" y="9944"/>
                  <a:pt x="519531" y="11358"/>
                  <a:pt x="519252" y="13088"/>
                </a:cubicBezTo>
                <a:cubicBezTo>
                  <a:pt x="518973" y="14818"/>
                  <a:pt x="518833" y="16911"/>
                  <a:pt x="518833" y="19367"/>
                </a:cubicBezTo>
                <a:lnTo>
                  <a:pt x="518833" y="25338"/>
                </a:lnTo>
                <a:lnTo>
                  <a:pt x="531223" y="25338"/>
                </a:lnTo>
                <a:cubicBezTo>
                  <a:pt x="531483" y="25338"/>
                  <a:pt x="531707" y="25394"/>
                  <a:pt x="531893" y="25506"/>
                </a:cubicBezTo>
                <a:cubicBezTo>
                  <a:pt x="532079" y="25618"/>
                  <a:pt x="532246" y="25794"/>
                  <a:pt x="532395" y="26036"/>
                </a:cubicBezTo>
                <a:cubicBezTo>
                  <a:pt x="532544" y="26278"/>
                  <a:pt x="532655" y="26576"/>
                  <a:pt x="532730" y="26929"/>
                </a:cubicBezTo>
                <a:cubicBezTo>
                  <a:pt x="532804" y="27283"/>
                  <a:pt x="532841" y="27701"/>
                  <a:pt x="532841" y="28185"/>
                </a:cubicBezTo>
                <a:cubicBezTo>
                  <a:pt x="532841" y="29115"/>
                  <a:pt x="532693" y="29813"/>
                  <a:pt x="532395" y="30278"/>
                </a:cubicBezTo>
                <a:cubicBezTo>
                  <a:pt x="532097" y="30743"/>
                  <a:pt x="531707" y="30975"/>
                  <a:pt x="531223" y="30975"/>
                </a:cubicBezTo>
                <a:lnTo>
                  <a:pt x="518833" y="30975"/>
                </a:lnTo>
                <a:lnTo>
                  <a:pt x="518833" y="77019"/>
                </a:lnTo>
                <a:cubicBezTo>
                  <a:pt x="518833" y="77242"/>
                  <a:pt x="518777" y="77447"/>
                  <a:pt x="518666" y="77633"/>
                </a:cubicBezTo>
                <a:cubicBezTo>
                  <a:pt x="518554" y="77819"/>
                  <a:pt x="518377" y="77968"/>
                  <a:pt x="518135" y="78079"/>
                </a:cubicBezTo>
                <a:cubicBezTo>
                  <a:pt x="517894" y="78191"/>
                  <a:pt x="517549" y="78284"/>
                  <a:pt x="517103" y="78358"/>
                </a:cubicBezTo>
                <a:cubicBezTo>
                  <a:pt x="516656" y="78433"/>
                  <a:pt x="516117" y="78470"/>
                  <a:pt x="515484" y="78470"/>
                </a:cubicBezTo>
                <a:cubicBezTo>
                  <a:pt x="514852" y="78470"/>
                  <a:pt x="514322" y="78433"/>
                  <a:pt x="513894" y="78358"/>
                </a:cubicBezTo>
                <a:cubicBezTo>
                  <a:pt x="513466" y="78284"/>
                  <a:pt x="513122" y="78191"/>
                  <a:pt x="512861" y="78079"/>
                </a:cubicBezTo>
                <a:cubicBezTo>
                  <a:pt x="512601" y="77968"/>
                  <a:pt x="512424" y="77819"/>
                  <a:pt x="512331" y="77633"/>
                </a:cubicBezTo>
                <a:cubicBezTo>
                  <a:pt x="512238" y="77447"/>
                  <a:pt x="512192" y="77242"/>
                  <a:pt x="512192" y="77019"/>
                </a:cubicBezTo>
                <a:lnTo>
                  <a:pt x="512192" y="30975"/>
                </a:lnTo>
                <a:lnTo>
                  <a:pt x="504601" y="30975"/>
                </a:lnTo>
                <a:cubicBezTo>
                  <a:pt x="504080" y="30975"/>
                  <a:pt x="503681" y="30743"/>
                  <a:pt x="503401" y="30278"/>
                </a:cubicBezTo>
                <a:cubicBezTo>
                  <a:pt x="503122" y="29813"/>
                  <a:pt x="502983" y="29115"/>
                  <a:pt x="502983" y="28185"/>
                </a:cubicBezTo>
                <a:cubicBezTo>
                  <a:pt x="502983" y="27701"/>
                  <a:pt x="503020" y="27283"/>
                  <a:pt x="503094" y="26929"/>
                </a:cubicBezTo>
                <a:cubicBezTo>
                  <a:pt x="503169" y="26576"/>
                  <a:pt x="503271" y="26278"/>
                  <a:pt x="503401" y="26036"/>
                </a:cubicBezTo>
                <a:cubicBezTo>
                  <a:pt x="503532" y="25794"/>
                  <a:pt x="503699" y="25618"/>
                  <a:pt x="503904" y="25506"/>
                </a:cubicBezTo>
                <a:cubicBezTo>
                  <a:pt x="504108" y="25394"/>
                  <a:pt x="504341" y="25338"/>
                  <a:pt x="504601" y="25338"/>
                </a:cubicBezTo>
                <a:lnTo>
                  <a:pt x="512192" y="25338"/>
                </a:lnTo>
                <a:lnTo>
                  <a:pt x="512192" y="19590"/>
                </a:lnTo>
                <a:cubicBezTo>
                  <a:pt x="512192" y="16055"/>
                  <a:pt x="512508" y="13042"/>
                  <a:pt x="513140" y="10549"/>
                </a:cubicBezTo>
                <a:cubicBezTo>
                  <a:pt x="513773" y="8056"/>
                  <a:pt x="514731" y="6028"/>
                  <a:pt x="516015" y="4465"/>
                </a:cubicBezTo>
                <a:cubicBezTo>
                  <a:pt x="517298" y="2903"/>
                  <a:pt x="518907" y="1768"/>
                  <a:pt x="520842" y="1061"/>
                </a:cubicBezTo>
                <a:cubicBezTo>
                  <a:pt x="522777" y="354"/>
                  <a:pt x="525028" y="0"/>
                  <a:pt x="5275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05CF886-966B-49DE-9A3A-EE6C5FE3FEE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FE3E0B83-0F3D-4400-8DC8-46AA167BD859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184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1" name="Titel 13">
            <a:extLst>
              <a:ext uri="{FF2B5EF4-FFF2-40B4-BE49-F238E27FC236}">
                <a16:creationId xmlns:a16="http://schemas.microsoft.com/office/drawing/2014/main" id="{F64E8016-1BE0-4F48-B51C-E5159C349E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3279" y="2354553"/>
            <a:ext cx="3972726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36E0262-1052-7140-AA3D-937F1AD7FE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94789" y="2808731"/>
            <a:ext cx="8820000" cy="27765"/>
          </a:xfrm>
          <a:prstGeom prst="rect">
            <a:avLst/>
          </a:prstGeom>
        </p:spPr>
      </p:pic>
      <p:sp>
        <p:nvSpPr>
          <p:cNvPr id="13" name="Pladsholder til tekst 7">
            <a:extLst>
              <a:ext uri="{FF2B5EF4-FFF2-40B4-BE49-F238E27FC236}">
                <a16:creationId xmlns:a16="http://schemas.microsoft.com/office/drawing/2014/main" id="{F8482ACD-6EE5-8949-92BF-2F3E936B89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98145" y="2916000"/>
            <a:ext cx="3957860" cy="5159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527D872-2C26-4DB6-8882-AD730BE41CB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algn="r"/>
            <a:fld id="{1248DA60-5815-4628-8012-6098F7B99483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C7159525-C31F-4281-9E97-D850E5D7DBA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8CE88BD1-BC1F-450A-BF48-A6761762D5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803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23C2C5DF-AF86-5B44-B421-95D2B8298C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4B619AC-2DE8-F349-916D-5357F86AA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A673C237-CE7A-7440-B18F-ABE4D42F8E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7E7BB6C-6DB7-4C9B-B902-D810D5767AA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4234C352-0595-4C76-A67C-FFC83D451E5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A1178DBE-2878-4175-A353-03E78586358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13152BB-658E-4064-ACC4-808C06DAFD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81133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DCFFA012-B9A2-FB47-B7F0-866A48C448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FC3A4E5-D727-9C45-ABDE-C7DE64355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B2F75B42-88A2-5240-BD99-92A6F44B5F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6832C9C-E069-4133-883A-F2490B36A74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953FA536-865B-4CFC-B6D3-31FCD0A6C59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F2BDFA6-B049-470F-ACE7-CBD6F8411D3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7C40DB7-9016-43FA-A399-658F27DCD03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35922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29">
            <a:extLst>
              <a:ext uri="{FF2B5EF4-FFF2-40B4-BE49-F238E27FC236}">
                <a16:creationId xmlns:a16="http://schemas.microsoft.com/office/drawing/2014/main" id="{CBB39100-136E-2C40-951C-47254543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6" y="1503496"/>
            <a:ext cx="8577169" cy="282842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216000" tIns="180000" anchor="t" anchorCtr="0">
            <a:noAutofit/>
          </a:bodyPr>
          <a:lstStyle>
            <a:lvl1pPr marL="179388" marR="0" indent="-179388" algn="l" defTabSz="4572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r>
              <a:rPr lang="en-US" dirty="0"/>
              <a:t>Text can be added here</a:t>
            </a:r>
          </a:p>
          <a:p>
            <a:pPr lvl="0"/>
            <a:endParaRPr lang="en-US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8E672BA-F765-2843-9380-B4FA84CEB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8" name="Pladsholder til tekst 27">
            <a:extLst>
              <a:ext uri="{FF2B5EF4-FFF2-40B4-BE49-F238E27FC236}">
                <a16:creationId xmlns:a16="http://schemas.microsoft.com/office/drawing/2014/main" id="{C311535D-2BB7-184B-80DA-D101AADFF8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57FFA36-6C32-4231-B66F-56218D65B48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82A0211A-4CFA-41D5-B244-6652550792B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C271DC3-6F72-4E37-AA02-09DF2907FA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26583DBC-1251-4001-AC26-7A48CA935B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4875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477443-7C71-1B46-98BA-149F04FD4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009BA6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1150B54-8B30-4CF3-81B4-55565587177F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21F051CF-F6DC-4659-8C99-7EBED30E6DC7}" type="datetime1">
              <a:rPr lang="en-US" smtClean="0"/>
              <a:t>10/15/2024</a:t>
            </a:fld>
            <a:endParaRPr lang="en-US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C34E2F94-D7F9-449A-8329-063D2B0D7984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C4F7D5E8-5C35-49FD-A9FA-C989D9E288B8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3941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493BED7A-1F77-5F4F-BB15-69C469BCB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0F8C8785-F486-8344-85E4-9DC33DD9D7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61B52DCF-D40B-DF4B-8979-B7FFA0EBD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51ACBFD8-1048-F341-AE8D-77F007131E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961A058C-AE12-5943-985D-C49931410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26BFEBB9-6953-8740-B82B-53FC7D89BD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6E910161-CAB9-E14B-85AE-EB59220156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6405D00B-1334-7F43-91F1-87B3949638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FBFE6AE9-A095-264D-B33F-90C47D7634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2B48D5FD-BE2D-4E4C-A629-EFB42F90AB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65BA38BB-1000-5B46-AE18-A059A53599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B2704AE5-37F3-5D4C-AA1D-F4C4443133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36143AAE-5944-AC4E-BD5C-DCD7514709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AC9C62BB-2CC1-1B49-9C9E-6B70759493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803EF42E-1A98-FB4B-8BF9-D9A31A4611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B2D2E07B-A972-BB40-9100-E99A737FB55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AEAB914E-B2D1-7942-8A51-97265FEE09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188BC8E3-FB74-6740-ACC0-4694A8C673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6410E918-B6DE-464B-8910-77033EF47B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rgbClr val="C9C9C9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51E906E4-28EB-7747-AEA2-1D436BFF00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B56F700B-2456-F44B-A27C-78160506A0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BA014772-73C4-B640-934D-199214C66E6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9CFB68CF-B811-CB45-B94F-2983904D5C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C6AC15FD-50FA-0D43-89BC-2B78D3DB4A2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9E595184-AEDF-B742-B753-81F76C342A9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DDDDDD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284189A6-2872-7B42-B69A-44739C3E65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EAEBEB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7007CF9-CBA6-43FA-9D5D-AF9366368515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A2D51F9D-D3D1-418B-B98F-83CD70570EE6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723ACB97-7D62-411B-85C6-AE90349CAC8D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AF5529A6-1295-47EB-83DA-825F2DAE8BDF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15121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al w.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477443-7C71-1B46-98BA-149F04FD4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8" y="540000"/>
            <a:ext cx="8654267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Agenda</a:t>
            </a:r>
          </a:p>
        </p:txBody>
      </p:sp>
      <p:sp>
        <p:nvSpPr>
          <p:cNvPr id="7" name="Pladsholder til tekst 27">
            <a:extLst>
              <a:ext uri="{FF2B5EF4-FFF2-40B4-BE49-F238E27FC236}">
                <a16:creationId xmlns:a16="http://schemas.microsoft.com/office/drawing/2014/main" id="{AA37BD82-797A-A249-B428-BBC1894D1D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8908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8" name="Pladsholder til tekst 29">
            <a:extLst>
              <a:ext uri="{FF2B5EF4-FFF2-40B4-BE49-F238E27FC236}">
                <a16:creationId xmlns:a16="http://schemas.microsoft.com/office/drawing/2014/main" id="{DF79A661-9CA3-2445-8C3C-01722F4C68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007" y="1503496"/>
            <a:ext cx="4461052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ject</a:t>
            </a:r>
          </a:p>
        </p:txBody>
      </p:sp>
      <p:sp>
        <p:nvSpPr>
          <p:cNvPr id="9" name="Pladsholder til tekst 29">
            <a:extLst>
              <a:ext uri="{FF2B5EF4-FFF2-40B4-BE49-F238E27FC236}">
                <a16:creationId xmlns:a16="http://schemas.microsoft.com/office/drawing/2014/main" id="{39DA3BB6-133A-8043-9D30-BFF250BD2A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6007" y="1870319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0" name="Pladsholder til tekst 29">
            <a:extLst>
              <a:ext uri="{FF2B5EF4-FFF2-40B4-BE49-F238E27FC236}">
                <a16:creationId xmlns:a16="http://schemas.microsoft.com/office/drawing/2014/main" id="{E91E654F-2C95-F84A-96F0-680B5DD72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6007" y="2241531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1" name="Pladsholder til tekst 29">
            <a:extLst>
              <a:ext uri="{FF2B5EF4-FFF2-40B4-BE49-F238E27FC236}">
                <a16:creationId xmlns:a16="http://schemas.microsoft.com/office/drawing/2014/main" id="{11C04526-C41A-C548-B730-0928733D29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6007" y="2612743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9">
            <a:extLst>
              <a:ext uri="{FF2B5EF4-FFF2-40B4-BE49-F238E27FC236}">
                <a16:creationId xmlns:a16="http://schemas.microsoft.com/office/drawing/2014/main" id="{CBCF0DC5-0792-2844-BAE1-E673CFCAC8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6007" y="2983955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3" name="Pladsholder til tekst 29">
            <a:extLst>
              <a:ext uri="{FF2B5EF4-FFF2-40B4-BE49-F238E27FC236}">
                <a16:creationId xmlns:a16="http://schemas.microsoft.com/office/drawing/2014/main" id="{F6156CD7-E18D-784C-ADB6-26487EEA10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6007" y="335516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4" name="Pladsholder til tekst 29">
            <a:extLst>
              <a:ext uri="{FF2B5EF4-FFF2-40B4-BE49-F238E27FC236}">
                <a16:creationId xmlns:a16="http://schemas.microsoft.com/office/drawing/2014/main" id="{637D9EC0-F9B2-124C-B00B-0DEE5015CE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007" y="3726379"/>
            <a:ext cx="4461052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5" name="Pladsholder til tekst 29">
            <a:extLst>
              <a:ext uri="{FF2B5EF4-FFF2-40B4-BE49-F238E27FC236}">
                <a16:creationId xmlns:a16="http://schemas.microsoft.com/office/drawing/2014/main" id="{43AE9BE4-AA2D-4E46-A8D1-FB1DD333C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6007" y="4100727"/>
            <a:ext cx="4461052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6" name="Pladsholder til tekst 29">
            <a:extLst>
              <a:ext uri="{FF2B5EF4-FFF2-40B4-BE49-F238E27FC236}">
                <a16:creationId xmlns:a16="http://schemas.microsoft.com/office/drawing/2014/main" id="{74985B4D-35F7-004B-8A0D-0DE9F63A4E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818287" y="1503496"/>
            <a:ext cx="2672349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Responsible</a:t>
            </a:r>
          </a:p>
        </p:txBody>
      </p:sp>
      <p:sp>
        <p:nvSpPr>
          <p:cNvPr id="17" name="Pladsholder til tekst 29">
            <a:extLst>
              <a:ext uri="{FF2B5EF4-FFF2-40B4-BE49-F238E27FC236}">
                <a16:creationId xmlns:a16="http://schemas.microsoft.com/office/drawing/2014/main" id="{38118361-F731-F14C-A63F-543186D1C7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18287" y="1870319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Pladsholder til tekst 29">
            <a:extLst>
              <a:ext uri="{FF2B5EF4-FFF2-40B4-BE49-F238E27FC236}">
                <a16:creationId xmlns:a16="http://schemas.microsoft.com/office/drawing/2014/main" id="{98B6728A-E42D-BC44-A898-C50CCCB11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287" y="2241531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Pladsholder til tekst 29">
            <a:extLst>
              <a:ext uri="{FF2B5EF4-FFF2-40B4-BE49-F238E27FC236}">
                <a16:creationId xmlns:a16="http://schemas.microsoft.com/office/drawing/2014/main" id="{4B56C4B5-07D6-9E46-AC74-C3B32C040D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18287" y="2612743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Pladsholder til tekst 29">
            <a:extLst>
              <a:ext uri="{FF2B5EF4-FFF2-40B4-BE49-F238E27FC236}">
                <a16:creationId xmlns:a16="http://schemas.microsoft.com/office/drawing/2014/main" id="{B964A1C6-C7B0-484D-88D9-728B9BDED4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18287" y="2983955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1" name="Pladsholder til tekst 29">
            <a:extLst>
              <a:ext uri="{FF2B5EF4-FFF2-40B4-BE49-F238E27FC236}">
                <a16:creationId xmlns:a16="http://schemas.microsoft.com/office/drawing/2014/main" id="{4D6F89D1-0599-4D47-9CF5-D4E178DF60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18287" y="335516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2" name="Pladsholder til tekst 29">
            <a:extLst>
              <a:ext uri="{FF2B5EF4-FFF2-40B4-BE49-F238E27FC236}">
                <a16:creationId xmlns:a16="http://schemas.microsoft.com/office/drawing/2014/main" id="{1B275B1F-4B88-7245-AFAF-2FBD5ABE8BA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287" y="3726379"/>
            <a:ext cx="2672349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3" name="Pladsholder til tekst 29">
            <a:extLst>
              <a:ext uri="{FF2B5EF4-FFF2-40B4-BE49-F238E27FC236}">
                <a16:creationId xmlns:a16="http://schemas.microsoft.com/office/drawing/2014/main" id="{FC7DA795-12B0-3345-BE33-A25A717A67C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18287" y="4100727"/>
            <a:ext cx="2672349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4" name="Pladsholder til tekst 29">
            <a:extLst>
              <a:ext uri="{FF2B5EF4-FFF2-40B4-BE49-F238E27FC236}">
                <a16:creationId xmlns:a16="http://schemas.microsoft.com/office/drawing/2014/main" id="{F05514ED-F0B5-0F4B-AE96-17925EAD3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33167" y="1503496"/>
            <a:ext cx="1326794" cy="330219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25" name="Pladsholder til tekst 29">
            <a:extLst>
              <a:ext uri="{FF2B5EF4-FFF2-40B4-BE49-F238E27FC236}">
                <a16:creationId xmlns:a16="http://schemas.microsoft.com/office/drawing/2014/main" id="{45872B67-C689-904F-A05F-1DDCC0150A0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33167" y="1870319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6" name="Pladsholder til tekst 29">
            <a:extLst>
              <a:ext uri="{FF2B5EF4-FFF2-40B4-BE49-F238E27FC236}">
                <a16:creationId xmlns:a16="http://schemas.microsoft.com/office/drawing/2014/main" id="{C4E92584-10D3-D44F-9305-8EA779B100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33167" y="2241531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7" name="Pladsholder til tekst 29">
            <a:extLst>
              <a:ext uri="{FF2B5EF4-FFF2-40B4-BE49-F238E27FC236}">
                <a16:creationId xmlns:a16="http://schemas.microsoft.com/office/drawing/2014/main" id="{EFFE82FE-A218-984F-A2DF-99CEB9EE6C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33167" y="2612743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8" name="Pladsholder til tekst 29">
            <a:extLst>
              <a:ext uri="{FF2B5EF4-FFF2-40B4-BE49-F238E27FC236}">
                <a16:creationId xmlns:a16="http://schemas.microsoft.com/office/drawing/2014/main" id="{17D21BEB-281F-314A-BA15-84E1E43E19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33167" y="2983955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9" name="Pladsholder til tekst 29">
            <a:extLst>
              <a:ext uri="{FF2B5EF4-FFF2-40B4-BE49-F238E27FC236}">
                <a16:creationId xmlns:a16="http://schemas.microsoft.com/office/drawing/2014/main" id="{984AAE1A-53B4-134C-878C-29B8CC709C4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33167" y="335516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0" name="Pladsholder til tekst 29">
            <a:extLst>
              <a:ext uri="{FF2B5EF4-FFF2-40B4-BE49-F238E27FC236}">
                <a16:creationId xmlns:a16="http://schemas.microsoft.com/office/drawing/2014/main" id="{BC06067B-5E98-164F-A605-0A0039A0F9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33167" y="3726379"/>
            <a:ext cx="1326794" cy="330219"/>
          </a:xfrm>
          <a:prstGeom prst="roundRect">
            <a:avLst>
              <a:gd name="adj" fmla="val 0"/>
            </a:avLst>
          </a:prstGeom>
          <a:solidFill>
            <a:srgbClr val="7FCDD2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31" name="Pladsholder til tekst 29">
            <a:extLst>
              <a:ext uri="{FF2B5EF4-FFF2-40B4-BE49-F238E27FC236}">
                <a16:creationId xmlns:a16="http://schemas.microsoft.com/office/drawing/2014/main" id="{989B8333-72CA-7E40-AF93-B5241AC553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33167" y="4100727"/>
            <a:ext cx="1326794" cy="330219"/>
          </a:xfrm>
          <a:prstGeom prst="roundRect">
            <a:avLst>
              <a:gd name="adj" fmla="val 0"/>
            </a:avLst>
          </a:prstGeom>
          <a:solidFill>
            <a:srgbClr val="B2E1E4"/>
          </a:solidFill>
        </p:spPr>
        <p:txBody>
          <a:bodyPr lIns="162000" anchor="ctr">
            <a:noAutofit/>
          </a:bodyPr>
          <a:lstStyle>
            <a:lvl1pPr marL="0" indent="0" algn="l" defTabSz="457200" rtl="0" eaLnBrk="1" latinLnBrk="0" hangingPunct="1">
              <a:buFontTx/>
              <a:buNone/>
              <a:defRPr lang="da-DK" sz="1300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a-DK" sz="13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da-DK" sz="13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XX min.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4C3AE63-255B-4B96-8C6A-F6D163030692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pPr algn="r"/>
            <a:fld id="{65B36D89-A998-40CC-9AEB-152524B4C08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2" name="Pladsholder til sidefod 31">
            <a:extLst>
              <a:ext uri="{FF2B5EF4-FFF2-40B4-BE49-F238E27FC236}">
                <a16:creationId xmlns:a16="http://schemas.microsoft.com/office/drawing/2014/main" id="{DADC60F6-726B-4643-B323-66FB380D0B69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Pladsholder til slidenummer 32">
            <a:extLst>
              <a:ext uri="{FF2B5EF4-FFF2-40B4-BE49-F238E27FC236}">
                <a16:creationId xmlns:a16="http://schemas.microsoft.com/office/drawing/2014/main" id="{97BF3442-8355-4234-91C5-37D158EDDABB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8722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1">
            <a:extLst>
              <a:ext uri="{FF2B5EF4-FFF2-40B4-BE49-F238E27FC236}">
                <a16:creationId xmlns:a16="http://schemas.microsoft.com/office/drawing/2014/main" id="{D80C3370-0C4D-224E-8F4A-ADE76E78B8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1434" y="2808731"/>
            <a:ext cx="8820000" cy="27765"/>
          </a:xfrm>
          <a:prstGeom prst="rect">
            <a:avLst/>
          </a:prstGeom>
        </p:spPr>
      </p:pic>
      <p:sp>
        <p:nvSpPr>
          <p:cNvPr id="16" name="Titel 13">
            <a:extLst>
              <a:ext uri="{FF2B5EF4-FFF2-40B4-BE49-F238E27FC236}">
                <a16:creationId xmlns:a16="http://schemas.microsoft.com/office/drawing/2014/main" id="{1EA4DDCD-C039-9542-B93C-9129BE80FD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2366561"/>
            <a:ext cx="3944948" cy="422231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7" name="Pladsholder til tekst 7">
            <a:extLst>
              <a:ext uri="{FF2B5EF4-FFF2-40B4-BE49-F238E27FC236}">
                <a16:creationId xmlns:a16="http://schemas.microsoft.com/office/drawing/2014/main" id="{CCC063DB-84BB-8340-B548-CD048E69FA2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8909" y="2916000"/>
            <a:ext cx="3944948" cy="708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5B92AAA-15C0-49C5-B4EA-90F86F4A22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1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2" name="LOGO">
            <a:extLst>
              <a:ext uri="{FF2B5EF4-FFF2-40B4-BE49-F238E27FC236}">
                <a16:creationId xmlns:a16="http://schemas.microsoft.com/office/drawing/2014/main" id="{1D0F76A3-BF51-4CD8-AD94-B8C4E40B991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BE413FB-815B-4EBB-A44B-9CA96416EB4C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73E560B7-A9B6-4B0E-BDBC-147948C026CD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68A1E9C9-F12D-4705-AD48-D077D2D5110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7167A3F0-35F9-4FE1-83EC-0205E4DA66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ladsholder til billede 7">
            <a:extLst>
              <a:ext uri="{FF2B5EF4-FFF2-40B4-BE49-F238E27FC236}">
                <a16:creationId xmlns:a16="http://schemas.microsoft.com/office/drawing/2014/main" id="{FAF008CD-B45F-9EA7-C402-18D1CBD8C9AA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021125" y="4761353"/>
            <a:ext cx="878400" cy="97200"/>
          </a:xfrm>
          <a:blipFill dpi="0" rotWithShape="0">
            <a:blip r:embed="rId5">
              <a:lum bright="10000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4733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794F9066-547A-484A-BC91-DCD42A82D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269497"/>
            <a:ext cx="9143999" cy="60450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9BA6"/>
                </a:solidFill>
              </a:defRPr>
            </a:lvl1pPr>
          </a:lstStyle>
          <a:p>
            <a:pPr lvl="0"/>
            <a:r>
              <a:rPr lang="en-US" dirty="0"/>
              <a:t>A great headline can be added here</a:t>
            </a:r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4324033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3">
            <a:extLst>
              <a:ext uri="{FF2B5EF4-FFF2-40B4-BE49-F238E27FC236}">
                <a16:creationId xmlns:a16="http://schemas.microsoft.com/office/drawing/2014/main" id="{6464A6D4-23E7-164C-AE57-9B41919BC9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5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DC8BDAC4-C8C4-B344-9655-88067569C5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09" y="1008000"/>
            <a:ext cx="8654266" cy="336738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C11E366-DDA6-4BD7-ACAF-287D6913646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ACE4E940-0EED-45F7-AB44-AB38C1EE293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DC4F609-A786-40A1-A75B-854DC2BEA49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2FF750A-24E6-4DBC-9873-3BF033ADA66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0235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>
            <a:extLst>
              <a:ext uri="{FF2B5EF4-FFF2-40B4-BE49-F238E27FC236}">
                <a16:creationId xmlns:a16="http://schemas.microsoft.com/office/drawing/2014/main" id="{7AC66C80-467F-514B-8C33-922453CBA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09" y="540000"/>
            <a:ext cx="8654266" cy="390368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1" name="Pladsholder til tekst 27">
            <a:extLst>
              <a:ext uri="{FF2B5EF4-FFF2-40B4-BE49-F238E27FC236}">
                <a16:creationId xmlns:a16="http://schemas.microsoft.com/office/drawing/2014/main" id="{6C689FAB-8E3B-1445-95F8-1CE8A7E9D3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7600" y="1008000"/>
            <a:ext cx="8621053" cy="367676"/>
          </a:xfrm>
          <a:prstGeom prst="rect">
            <a:avLst/>
          </a:prstGeom>
        </p:spPr>
        <p:txBody>
          <a:bodyPr>
            <a:noAutofit/>
          </a:bodyPr>
          <a:lstStyle>
            <a:lvl1pPr marL="179388" indent="-179388" algn="l" defTabSz="457200" rtl="0" eaLnBrk="1" latinLnBrk="0" hangingPunct="1">
              <a:buFont typeface="+mj-lt"/>
              <a:buNone/>
              <a:defRPr lang="da-DK" sz="1300" b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ext can be added here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AFA40D9F-C4D6-374B-9003-6B7D9DBD85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7600" y="1440000"/>
            <a:ext cx="8621052" cy="27532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7E183F1-22FA-4CDD-8EE5-5BD76ECCBB89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5957EE8A-9B83-47C0-A51E-40B029C619B9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453A269-84B4-4606-928A-0D7AB4CDEE8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09E41B50-7556-4254-B47A-4BDF7E2B8BF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1285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32286" y="0"/>
            <a:ext cx="4511714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7" name="Titel 13">
            <a:extLst>
              <a:ext uri="{FF2B5EF4-FFF2-40B4-BE49-F238E27FC236}">
                <a16:creationId xmlns:a16="http://schemas.microsoft.com/office/drawing/2014/main" id="{0977448C-4C32-4839-943B-D5CD0E59B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122" y="792199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5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da-DK" dirty="0" err="1"/>
              <a:t>Headline</a:t>
            </a:r>
            <a:endParaRPr lang="da-DK" dirty="0"/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7D6D5E8-3155-4001-9A21-436A146661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72122" y="1164511"/>
            <a:ext cx="3944948" cy="324706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13" name="LOGO">
            <a:extLst>
              <a:ext uri="{FF2B5EF4-FFF2-40B4-BE49-F238E27FC236}">
                <a16:creationId xmlns:a16="http://schemas.microsoft.com/office/drawing/2014/main" id="{23FDE112-DC63-45F0-8D13-80A3A297284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34464" y="260463"/>
            <a:ext cx="1332000" cy="30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6E872555-8302-4457-ADC6-BD68047FFF94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EBDA8169-AB9A-49B2-B002-7D9C5EF320C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C5EE1612-F112-4015-93DE-A649ADCB7D0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99136BF-F73B-456A-A76F-55C7F8D5B4EF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02023702-C9AB-8B5A-5B12-5DE1A7A8DBB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021125" y="4761353"/>
            <a:ext cx="878400" cy="97200"/>
          </a:xfrm>
          <a:blipFill dpi="0" rotWithShape="0">
            <a:blip r:embed="rId3">
              <a:lum bright="100000"/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58348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billede 2">
            <a:extLst>
              <a:ext uri="{FF2B5EF4-FFF2-40B4-BE49-F238E27FC236}">
                <a16:creationId xmlns:a16="http://schemas.microsoft.com/office/drawing/2014/main" id="{709DDEAD-026E-4427-844B-D306632C6E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1999" cy="5143500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8" name="Titel 13">
            <a:extLst>
              <a:ext uri="{FF2B5EF4-FFF2-40B4-BE49-F238E27FC236}">
                <a16:creationId xmlns:a16="http://schemas.microsoft.com/office/drawing/2014/main" id="{91F5DAC1-AB24-2C49-A83F-B1A3097D19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A6BAFAAD-1A3D-B24E-B7B4-1DFA22EB11A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09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A4845790-B927-470E-9994-116D8099936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ED1C7BC1-097E-48D4-B1A2-C6526D65C230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2C79049-95DE-45AD-A74A-2E17E5EE2E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DB89033-F954-4EE4-B98A-A77C73FA09C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3747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C9F703F9-CB20-7048-82DF-A6459D38E6E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16006" y="540000"/>
            <a:ext cx="4153925" cy="3949626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21B9330A-C609-B445-90EC-51073B5B29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9545" y="540000"/>
            <a:ext cx="3983630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8C005136-0577-CD42-8444-07F3E7349D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09545" y="1008000"/>
            <a:ext cx="3983630" cy="3325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8758B78-04D1-4BDA-9642-CA21304C8F3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A232A7F5-08DA-4D3C-9573-BA790556DDDE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4382F46-8306-4E69-A18B-79755BC7270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45538D3-DD00-4F36-9627-B608B09666B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5290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2">
            <a:extLst>
              <a:ext uri="{FF2B5EF4-FFF2-40B4-BE49-F238E27FC236}">
                <a16:creationId xmlns:a16="http://schemas.microsoft.com/office/drawing/2014/main" id="{95B36680-5E91-274A-9D48-31A154556F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00568" y="679938"/>
            <a:ext cx="4192607" cy="3809688"/>
          </a:xfrm>
          <a:prstGeom prst="rect">
            <a:avLst/>
          </a:prstGeom>
          <a:solidFill>
            <a:srgbClr val="A6A6A6"/>
          </a:solidFill>
        </p:spPr>
        <p:txBody>
          <a:bodyPr/>
          <a:lstStyle>
            <a:lvl1pPr marL="0" indent="0">
              <a:buFontTx/>
              <a:buNone/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/>
              <a:t>Image</a:t>
            </a:r>
          </a:p>
        </p:txBody>
      </p:sp>
      <p:sp>
        <p:nvSpPr>
          <p:cNvPr id="10" name="Titel 13">
            <a:extLst>
              <a:ext uri="{FF2B5EF4-FFF2-40B4-BE49-F238E27FC236}">
                <a16:creationId xmlns:a16="http://schemas.microsoft.com/office/drawing/2014/main" id="{64473AB1-2F59-7144-ADDB-30154BDC47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8910" y="540000"/>
            <a:ext cx="3944948" cy="372314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>
            <a:lvl1pPr>
              <a:defRPr lang="da-DK" sz="2600">
                <a:solidFill>
                  <a:srgbClr val="009CA6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457200"/>
            <a:r>
              <a:rPr lang="en-US" noProof="0" dirty="0"/>
              <a:t>Headline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0359CBE8-76CD-7A44-BD26-7423FF90B8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11" y="1008000"/>
            <a:ext cx="3944948" cy="3325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noProof="0" dirty="0"/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34128057-BD47-4930-8A70-204C584E04BA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158A9412-325D-45F8-8F75-9E7790D56517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056156F9-9717-41BD-B903-F41E93665C9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D633134-C831-4A30-A196-A718C6721AE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300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image" Target="../media/image11.emf"/><Relationship Id="rId8" Type="http://schemas.openxmlformats.org/officeDocument/2006/relationships/slideLayout" Target="../slideLayouts/slideLayout11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slideLayout" Target="../slideLayouts/slideLayout168.xml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slideLayout" Target="../slideLayouts/slideLayout167.xml"/><Relationship Id="rId30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26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5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slideLayout" Target="../slideLayouts/slideLayout199.xml"/><Relationship Id="rId29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slideLayout" Target="../slideLayouts/slideLayout202.xml"/><Relationship Id="rId28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slideLayout" Target="../slideLayouts/slideLayout201.xml"/><Relationship Id="rId27" Type="http://schemas.openxmlformats.org/officeDocument/2006/relationships/slideLayout" Target="../slideLayouts/slideLayout206.xml"/><Relationship Id="rId30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8292A618-08F2-42FD-A234-3FCA5E8480D5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76F0AC6B-E11C-4402-9BAB-67617E3AE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00" y="5400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C85685-E58E-4B89-9E3C-FDCD16B90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600" y="10080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A0100651-2F27-4447-8572-1E2FD0DB166D}" type="datetime1">
              <a:rPr lang="en-US" smtClean="0"/>
              <a:t>10/15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915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47" r:id="rId3"/>
    <p:sldLayoutId id="2147483823" r:id="rId4"/>
    <p:sldLayoutId id="2147483996" r:id="rId5"/>
    <p:sldLayoutId id="2147484017" r:id="rId6"/>
    <p:sldLayoutId id="2147484011" r:id="rId7"/>
    <p:sldLayoutId id="2147484019" r:id="rId8"/>
    <p:sldLayoutId id="2147484013" r:id="rId9"/>
    <p:sldLayoutId id="2147483825" r:id="rId10"/>
    <p:sldLayoutId id="2147484029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41" r:id="rId22"/>
    <p:sldLayoutId id="2147483837" r:id="rId23"/>
    <p:sldLayoutId id="2147483838" r:id="rId24"/>
    <p:sldLayoutId id="2147483842" r:id="rId25"/>
    <p:sldLayoutId id="2147483836" r:id="rId26"/>
    <p:sldLayoutId id="2147483848" r:id="rId27"/>
    <p:sldLayoutId id="2147484228" r:id="rId2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felt 8">
            <a:extLst>
              <a:ext uri="{FF2B5EF4-FFF2-40B4-BE49-F238E27FC236}">
                <a16:creationId xmlns:a16="http://schemas.microsoft.com/office/drawing/2014/main" id="{FEF96FC1-F533-72AA-FDD2-430307E23ECA}"/>
              </a:ext>
            </a:extLst>
          </p:cNvPr>
          <p:cNvSpPr txBox="1"/>
          <p:nvPr userDrawn="1"/>
        </p:nvSpPr>
        <p:spPr>
          <a:xfrm>
            <a:off x="8561841" y="4762643"/>
            <a:ext cx="338789" cy="78749"/>
          </a:xfrm>
          <a:custGeom>
            <a:avLst/>
            <a:gdLst/>
            <a:ahLst/>
            <a:cxnLst/>
            <a:rect l="l" t="t" r="r" b="b"/>
            <a:pathLst>
              <a:path w="338789" h="78749">
                <a:moveTo>
                  <a:pt x="294531" y="52853"/>
                </a:moveTo>
                <a:cubicBezTo>
                  <a:pt x="291852" y="52853"/>
                  <a:pt x="289508" y="53095"/>
                  <a:pt x="287499" y="53578"/>
                </a:cubicBezTo>
                <a:cubicBezTo>
                  <a:pt x="285490" y="54062"/>
                  <a:pt x="283815" y="54769"/>
                  <a:pt x="282476" y="55699"/>
                </a:cubicBezTo>
                <a:cubicBezTo>
                  <a:pt x="281136" y="56629"/>
                  <a:pt x="280141" y="57746"/>
                  <a:pt x="279490" y="59048"/>
                </a:cubicBezTo>
                <a:cubicBezTo>
                  <a:pt x="278839" y="60350"/>
                  <a:pt x="278513" y="61838"/>
                  <a:pt x="278513" y="63513"/>
                </a:cubicBezTo>
                <a:cubicBezTo>
                  <a:pt x="278513" y="66415"/>
                  <a:pt x="279434" y="68731"/>
                  <a:pt x="281276" y="70461"/>
                </a:cubicBezTo>
                <a:cubicBezTo>
                  <a:pt x="283118" y="72191"/>
                  <a:pt x="285713" y="73056"/>
                  <a:pt x="289062" y="73056"/>
                </a:cubicBezTo>
                <a:cubicBezTo>
                  <a:pt x="291703" y="73056"/>
                  <a:pt x="294168" y="72377"/>
                  <a:pt x="296456" y="71019"/>
                </a:cubicBezTo>
                <a:cubicBezTo>
                  <a:pt x="298745" y="69661"/>
                  <a:pt x="301172" y="67568"/>
                  <a:pt x="303740" y="64741"/>
                </a:cubicBezTo>
                <a:lnTo>
                  <a:pt x="303740" y="52853"/>
                </a:lnTo>
                <a:close/>
                <a:moveTo>
                  <a:pt x="142019" y="29803"/>
                </a:moveTo>
                <a:cubicBezTo>
                  <a:pt x="139489" y="29803"/>
                  <a:pt x="137266" y="30277"/>
                  <a:pt x="135350" y="31226"/>
                </a:cubicBezTo>
                <a:cubicBezTo>
                  <a:pt x="133434" y="32175"/>
                  <a:pt x="131815" y="33431"/>
                  <a:pt x="130495" y="34993"/>
                </a:cubicBezTo>
                <a:cubicBezTo>
                  <a:pt x="129174" y="36556"/>
                  <a:pt x="128160" y="38370"/>
                  <a:pt x="127453" y="40435"/>
                </a:cubicBezTo>
                <a:cubicBezTo>
                  <a:pt x="126746" y="42500"/>
                  <a:pt x="126337" y="44649"/>
                  <a:pt x="126225" y="46881"/>
                </a:cubicBezTo>
                <a:lnTo>
                  <a:pt x="156921" y="46881"/>
                </a:lnTo>
                <a:cubicBezTo>
                  <a:pt x="157032" y="41523"/>
                  <a:pt x="155805" y="37338"/>
                  <a:pt x="153237" y="34324"/>
                </a:cubicBezTo>
                <a:cubicBezTo>
                  <a:pt x="150670" y="31310"/>
                  <a:pt x="146931" y="29803"/>
                  <a:pt x="142019" y="29803"/>
                </a:cubicBezTo>
                <a:close/>
                <a:moveTo>
                  <a:pt x="291740" y="24110"/>
                </a:moveTo>
                <a:cubicBezTo>
                  <a:pt x="295201" y="24110"/>
                  <a:pt x="298122" y="24529"/>
                  <a:pt x="300503" y="25366"/>
                </a:cubicBezTo>
                <a:cubicBezTo>
                  <a:pt x="302884" y="26203"/>
                  <a:pt x="304809" y="27403"/>
                  <a:pt x="306279" y="28966"/>
                </a:cubicBezTo>
                <a:cubicBezTo>
                  <a:pt x="307749" y="30529"/>
                  <a:pt x="308800" y="32454"/>
                  <a:pt x="309432" y="34742"/>
                </a:cubicBezTo>
                <a:cubicBezTo>
                  <a:pt x="310065" y="37031"/>
                  <a:pt x="310381" y="39626"/>
                  <a:pt x="310381" y="42528"/>
                </a:cubicBezTo>
                <a:lnTo>
                  <a:pt x="310381" y="76684"/>
                </a:lnTo>
                <a:cubicBezTo>
                  <a:pt x="310381" y="77056"/>
                  <a:pt x="310260" y="77344"/>
                  <a:pt x="310018" y="77549"/>
                </a:cubicBezTo>
                <a:cubicBezTo>
                  <a:pt x="309777" y="77754"/>
                  <a:pt x="309460" y="77903"/>
                  <a:pt x="309070" y="77996"/>
                </a:cubicBezTo>
                <a:cubicBezTo>
                  <a:pt x="308679" y="78089"/>
                  <a:pt x="308149" y="78135"/>
                  <a:pt x="307479" y="78135"/>
                </a:cubicBezTo>
                <a:cubicBezTo>
                  <a:pt x="306847" y="78135"/>
                  <a:pt x="306307" y="78089"/>
                  <a:pt x="305861" y="77996"/>
                </a:cubicBezTo>
                <a:cubicBezTo>
                  <a:pt x="305414" y="77903"/>
                  <a:pt x="305070" y="77754"/>
                  <a:pt x="304828" y="77549"/>
                </a:cubicBezTo>
                <a:cubicBezTo>
                  <a:pt x="304586" y="77344"/>
                  <a:pt x="304465" y="77056"/>
                  <a:pt x="304465" y="76684"/>
                </a:cubicBezTo>
                <a:lnTo>
                  <a:pt x="304465" y="71047"/>
                </a:lnTo>
                <a:cubicBezTo>
                  <a:pt x="302196" y="73503"/>
                  <a:pt x="299694" y="75400"/>
                  <a:pt x="296959" y="76740"/>
                </a:cubicBezTo>
                <a:cubicBezTo>
                  <a:pt x="294224" y="78079"/>
                  <a:pt x="291387" y="78749"/>
                  <a:pt x="288448" y="78749"/>
                </a:cubicBezTo>
                <a:cubicBezTo>
                  <a:pt x="285806" y="78749"/>
                  <a:pt x="283434" y="78405"/>
                  <a:pt x="281332" y="77717"/>
                </a:cubicBezTo>
                <a:cubicBezTo>
                  <a:pt x="279230" y="77028"/>
                  <a:pt x="277453" y="76042"/>
                  <a:pt x="276002" y="74759"/>
                </a:cubicBezTo>
                <a:cubicBezTo>
                  <a:pt x="274551" y="73475"/>
                  <a:pt x="273435" y="71922"/>
                  <a:pt x="272653" y="70098"/>
                </a:cubicBezTo>
                <a:cubicBezTo>
                  <a:pt x="271872" y="68275"/>
                  <a:pt x="271481" y="66229"/>
                  <a:pt x="271481" y="63959"/>
                </a:cubicBezTo>
                <a:cubicBezTo>
                  <a:pt x="271481" y="61169"/>
                  <a:pt x="272058" y="58741"/>
                  <a:pt x="273211" y="56676"/>
                </a:cubicBezTo>
                <a:cubicBezTo>
                  <a:pt x="274365" y="54611"/>
                  <a:pt x="276002" y="52890"/>
                  <a:pt x="278123" y="51513"/>
                </a:cubicBezTo>
                <a:cubicBezTo>
                  <a:pt x="280244" y="50137"/>
                  <a:pt x="282792" y="49104"/>
                  <a:pt x="285769" y="48416"/>
                </a:cubicBezTo>
                <a:cubicBezTo>
                  <a:pt x="288745" y="47728"/>
                  <a:pt x="292057" y="47383"/>
                  <a:pt x="295703" y="47383"/>
                </a:cubicBezTo>
                <a:lnTo>
                  <a:pt x="303740" y="47383"/>
                </a:lnTo>
                <a:lnTo>
                  <a:pt x="303740" y="43030"/>
                </a:lnTo>
                <a:cubicBezTo>
                  <a:pt x="303740" y="40872"/>
                  <a:pt x="303517" y="38965"/>
                  <a:pt x="303070" y="37310"/>
                </a:cubicBezTo>
                <a:cubicBezTo>
                  <a:pt x="302624" y="35654"/>
                  <a:pt x="301898" y="34268"/>
                  <a:pt x="300893" y="33152"/>
                </a:cubicBezTo>
                <a:cubicBezTo>
                  <a:pt x="299889" y="32035"/>
                  <a:pt x="298587" y="31198"/>
                  <a:pt x="296987" y="30640"/>
                </a:cubicBezTo>
                <a:cubicBezTo>
                  <a:pt x="295387" y="30082"/>
                  <a:pt x="293433" y="29803"/>
                  <a:pt x="291127" y="29803"/>
                </a:cubicBezTo>
                <a:cubicBezTo>
                  <a:pt x="288894" y="29803"/>
                  <a:pt x="286885" y="30073"/>
                  <a:pt x="285099" y="30612"/>
                </a:cubicBezTo>
                <a:cubicBezTo>
                  <a:pt x="283313" y="31152"/>
                  <a:pt x="281750" y="31756"/>
                  <a:pt x="280411" y="32426"/>
                </a:cubicBezTo>
                <a:cubicBezTo>
                  <a:pt x="279072" y="33096"/>
                  <a:pt x="277965" y="33700"/>
                  <a:pt x="277090" y="34240"/>
                </a:cubicBezTo>
                <a:cubicBezTo>
                  <a:pt x="276216" y="34780"/>
                  <a:pt x="275593" y="35049"/>
                  <a:pt x="275221" y="35049"/>
                </a:cubicBezTo>
                <a:cubicBezTo>
                  <a:pt x="274997" y="35049"/>
                  <a:pt x="274793" y="35012"/>
                  <a:pt x="274607" y="34938"/>
                </a:cubicBezTo>
                <a:cubicBezTo>
                  <a:pt x="274421" y="34863"/>
                  <a:pt x="274262" y="34724"/>
                  <a:pt x="274132" y="34519"/>
                </a:cubicBezTo>
                <a:cubicBezTo>
                  <a:pt x="274002" y="34314"/>
                  <a:pt x="273909" y="34054"/>
                  <a:pt x="273853" y="33738"/>
                </a:cubicBezTo>
                <a:cubicBezTo>
                  <a:pt x="273797" y="33421"/>
                  <a:pt x="273770" y="33040"/>
                  <a:pt x="273770" y="32594"/>
                </a:cubicBezTo>
                <a:cubicBezTo>
                  <a:pt x="273770" y="31812"/>
                  <a:pt x="273825" y="31189"/>
                  <a:pt x="273937" y="30724"/>
                </a:cubicBezTo>
                <a:cubicBezTo>
                  <a:pt x="274049" y="30259"/>
                  <a:pt x="274337" y="29794"/>
                  <a:pt x="274802" y="29329"/>
                </a:cubicBezTo>
                <a:cubicBezTo>
                  <a:pt x="275267" y="28864"/>
                  <a:pt x="276095" y="28315"/>
                  <a:pt x="277286" y="27682"/>
                </a:cubicBezTo>
                <a:cubicBezTo>
                  <a:pt x="278476" y="27050"/>
                  <a:pt x="279844" y="26464"/>
                  <a:pt x="281388" y="25924"/>
                </a:cubicBezTo>
                <a:cubicBezTo>
                  <a:pt x="282932" y="25385"/>
                  <a:pt x="284597" y="24948"/>
                  <a:pt x="286383" y="24613"/>
                </a:cubicBezTo>
                <a:cubicBezTo>
                  <a:pt x="288169" y="24278"/>
                  <a:pt x="289955" y="24110"/>
                  <a:pt x="291740" y="24110"/>
                </a:cubicBezTo>
                <a:close/>
                <a:moveTo>
                  <a:pt x="241009" y="24110"/>
                </a:moveTo>
                <a:cubicBezTo>
                  <a:pt x="244320" y="24110"/>
                  <a:pt x="247111" y="24668"/>
                  <a:pt x="249380" y="25785"/>
                </a:cubicBezTo>
                <a:cubicBezTo>
                  <a:pt x="251650" y="26901"/>
                  <a:pt x="253482" y="28408"/>
                  <a:pt x="254878" y="30305"/>
                </a:cubicBezTo>
                <a:cubicBezTo>
                  <a:pt x="256273" y="32203"/>
                  <a:pt x="257278" y="34417"/>
                  <a:pt x="257891" y="36947"/>
                </a:cubicBezTo>
                <a:cubicBezTo>
                  <a:pt x="258505" y="39477"/>
                  <a:pt x="258812" y="42528"/>
                  <a:pt x="258812" y="46100"/>
                </a:cubicBezTo>
                <a:lnTo>
                  <a:pt x="258812" y="76684"/>
                </a:lnTo>
                <a:cubicBezTo>
                  <a:pt x="258812" y="76907"/>
                  <a:pt x="258756" y="77112"/>
                  <a:pt x="258645" y="77298"/>
                </a:cubicBezTo>
                <a:cubicBezTo>
                  <a:pt x="258533" y="77484"/>
                  <a:pt x="258356" y="77633"/>
                  <a:pt x="258115" y="77744"/>
                </a:cubicBezTo>
                <a:cubicBezTo>
                  <a:pt x="257873" y="77856"/>
                  <a:pt x="257538" y="77949"/>
                  <a:pt x="257110" y="78023"/>
                </a:cubicBezTo>
                <a:cubicBezTo>
                  <a:pt x="256682" y="78098"/>
                  <a:pt x="256152" y="78135"/>
                  <a:pt x="255519" y="78135"/>
                </a:cubicBezTo>
                <a:cubicBezTo>
                  <a:pt x="254850" y="78135"/>
                  <a:pt x="254301" y="78098"/>
                  <a:pt x="253873" y="78023"/>
                </a:cubicBezTo>
                <a:cubicBezTo>
                  <a:pt x="253445" y="77949"/>
                  <a:pt x="253110" y="77856"/>
                  <a:pt x="252868" y="77744"/>
                </a:cubicBezTo>
                <a:cubicBezTo>
                  <a:pt x="252627" y="77633"/>
                  <a:pt x="252450" y="77484"/>
                  <a:pt x="252338" y="77298"/>
                </a:cubicBezTo>
                <a:cubicBezTo>
                  <a:pt x="252227" y="77112"/>
                  <a:pt x="252171" y="76907"/>
                  <a:pt x="252171" y="76684"/>
                </a:cubicBezTo>
                <a:lnTo>
                  <a:pt x="252171" y="46714"/>
                </a:lnTo>
                <a:cubicBezTo>
                  <a:pt x="252171" y="43588"/>
                  <a:pt x="251929" y="41049"/>
                  <a:pt x="251445" y="39096"/>
                </a:cubicBezTo>
                <a:cubicBezTo>
                  <a:pt x="250962" y="37142"/>
                  <a:pt x="250236" y="35468"/>
                  <a:pt x="249269" y="34073"/>
                </a:cubicBezTo>
                <a:cubicBezTo>
                  <a:pt x="248301" y="32677"/>
                  <a:pt x="247064" y="31598"/>
                  <a:pt x="245557" y="30836"/>
                </a:cubicBezTo>
                <a:cubicBezTo>
                  <a:pt x="244050" y="30073"/>
                  <a:pt x="242292" y="29691"/>
                  <a:pt x="240283" y="29691"/>
                </a:cubicBezTo>
                <a:cubicBezTo>
                  <a:pt x="237716" y="29691"/>
                  <a:pt x="235149" y="30603"/>
                  <a:pt x="232581" y="32426"/>
                </a:cubicBezTo>
                <a:cubicBezTo>
                  <a:pt x="230014" y="34249"/>
                  <a:pt x="227317" y="36928"/>
                  <a:pt x="224489" y="40463"/>
                </a:cubicBezTo>
                <a:lnTo>
                  <a:pt x="224489" y="76684"/>
                </a:lnTo>
                <a:cubicBezTo>
                  <a:pt x="224489" y="76907"/>
                  <a:pt x="224433" y="77112"/>
                  <a:pt x="224321" y="77298"/>
                </a:cubicBezTo>
                <a:cubicBezTo>
                  <a:pt x="224210" y="77484"/>
                  <a:pt x="224033" y="77633"/>
                  <a:pt x="223791" y="77744"/>
                </a:cubicBezTo>
                <a:cubicBezTo>
                  <a:pt x="223549" y="77856"/>
                  <a:pt x="223214" y="77949"/>
                  <a:pt x="222787" y="78023"/>
                </a:cubicBezTo>
                <a:cubicBezTo>
                  <a:pt x="222359" y="78098"/>
                  <a:pt x="221810" y="78135"/>
                  <a:pt x="221140" y="78135"/>
                </a:cubicBezTo>
                <a:cubicBezTo>
                  <a:pt x="220508" y="78135"/>
                  <a:pt x="219977" y="78098"/>
                  <a:pt x="219550" y="78023"/>
                </a:cubicBezTo>
                <a:cubicBezTo>
                  <a:pt x="219122" y="77949"/>
                  <a:pt x="218778" y="77856"/>
                  <a:pt x="218517" y="77744"/>
                </a:cubicBezTo>
                <a:cubicBezTo>
                  <a:pt x="218257" y="77633"/>
                  <a:pt x="218080" y="77484"/>
                  <a:pt x="217987" y="77298"/>
                </a:cubicBezTo>
                <a:cubicBezTo>
                  <a:pt x="217894" y="77112"/>
                  <a:pt x="217847" y="76907"/>
                  <a:pt x="217847" y="76684"/>
                </a:cubicBezTo>
                <a:lnTo>
                  <a:pt x="217847" y="26175"/>
                </a:lnTo>
                <a:cubicBezTo>
                  <a:pt x="217847" y="25952"/>
                  <a:pt x="217894" y="25747"/>
                  <a:pt x="217987" y="25561"/>
                </a:cubicBezTo>
                <a:cubicBezTo>
                  <a:pt x="218080" y="25375"/>
                  <a:pt x="218257" y="25217"/>
                  <a:pt x="218517" y="25087"/>
                </a:cubicBezTo>
                <a:cubicBezTo>
                  <a:pt x="218778" y="24957"/>
                  <a:pt x="219103" y="24864"/>
                  <a:pt x="219494" y="24808"/>
                </a:cubicBezTo>
                <a:cubicBezTo>
                  <a:pt x="219884" y="24752"/>
                  <a:pt x="220396" y="24724"/>
                  <a:pt x="221029" y="24724"/>
                </a:cubicBezTo>
                <a:cubicBezTo>
                  <a:pt x="221661" y="24724"/>
                  <a:pt x="222182" y="24752"/>
                  <a:pt x="222591" y="24808"/>
                </a:cubicBezTo>
                <a:cubicBezTo>
                  <a:pt x="223001" y="24864"/>
                  <a:pt x="223317" y="24957"/>
                  <a:pt x="223540" y="25087"/>
                </a:cubicBezTo>
                <a:cubicBezTo>
                  <a:pt x="223763" y="25217"/>
                  <a:pt x="223921" y="25375"/>
                  <a:pt x="224014" y="25561"/>
                </a:cubicBezTo>
                <a:cubicBezTo>
                  <a:pt x="224107" y="25747"/>
                  <a:pt x="224154" y="25952"/>
                  <a:pt x="224154" y="26175"/>
                </a:cubicBezTo>
                <a:lnTo>
                  <a:pt x="224154" y="33319"/>
                </a:lnTo>
                <a:cubicBezTo>
                  <a:pt x="227056" y="30082"/>
                  <a:pt x="229902" y="27738"/>
                  <a:pt x="232693" y="26287"/>
                </a:cubicBezTo>
                <a:cubicBezTo>
                  <a:pt x="235483" y="24836"/>
                  <a:pt x="238255" y="24110"/>
                  <a:pt x="241009" y="24110"/>
                </a:cubicBezTo>
                <a:close/>
                <a:moveTo>
                  <a:pt x="200118" y="24110"/>
                </a:moveTo>
                <a:cubicBezTo>
                  <a:pt x="200602" y="24110"/>
                  <a:pt x="201160" y="24138"/>
                  <a:pt x="201793" y="24194"/>
                </a:cubicBezTo>
                <a:cubicBezTo>
                  <a:pt x="202425" y="24250"/>
                  <a:pt x="203104" y="24352"/>
                  <a:pt x="203830" y="24501"/>
                </a:cubicBezTo>
                <a:cubicBezTo>
                  <a:pt x="204555" y="24650"/>
                  <a:pt x="205206" y="24827"/>
                  <a:pt x="205783" y="25031"/>
                </a:cubicBezTo>
                <a:cubicBezTo>
                  <a:pt x="206360" y="25236"/>
                  <a:pt x="206760" y="25422"/>
                  <a:pt x="206983" y="25589"/>
                </a:cubicBezTo>
                <a:cubicBezTo>
                  <a:pt x="207206" y="25757"/>
                  <a:pt x="207355" y="25906"/>
                  <a:pt x="207429" y="26036"/>
                </a:cubicBezTo>
                <a:cubicBezTo>
                  <a:pt x="207504" y="26166"/>
                  <a:pt x="207569" y="26334"/>
                  <a:pt x="207625" y="26538"/>
                </a:cubicBezTo>
                <a:cubicBezTo>
                  <a:pt x="207681" y="26743"/>
                  <a:pt x="207718" y="27022"/>
                  <a:pt x="207736" y="27375"/>
                </a:cubicBezTo>
                <a:cubicBezTo>
                  <a:pt x="207755" y="27729"/>
                  <a:pt x="207764" y="28185"/>
                  <a:pt x="207764" y="28743"/>
                </a:cubicBezTo>
                <a:cubicBezTo>
                  <a:pt x="207764" y="29301"/>
                  <a:pt x="207746" y="29775"/>
                  <a:pt x="207708" y="30166"/>
                </a:cubicBezTo>
                <a:cubicBezTo>
                  <a:pt x="207671" y="30557"/>
                  <a:pt x="207606" y="30873"/>
                  <a:pt x="207513" y="31115"/>
                </a:cubicBezTo>
                <a:cubicBezTo>
                  <a:pt x="207420" y="31356"/>
                  <a:pt x="207308" y="31542"/>
                  <a:pt x="207178" y="31673"/>
                </a:cubicBezTo>
                <a:cubicBezTo>
                  <a:pt x="207048" y="31803"/>
                  <a:pt x="206871" y="31868"/>
                  <a:pt x="206648" y="31868"/>
                </a:cubicBezTo>
                <a:cubicBezTo>
                  <a:pt x="206313" y="31868"/>
                  <a:pt x="205922" y="31784"/>
                  <a:pt x="205476" y="31617"/>
                </a:cubicBezTo>
                <a:cubicBezTo>
                  <a:pt x="205030" y="31449"/>
                  <a:pt x="204509" y="31273"/>
                  <a:pt x="203913" y="31087"/>
                </a:cubicBezTo>
                <a:cubicBezTo>
                  <a:pt x="203318" y="30901"/>
                  <a:pt x="202667" y="30724"/>
                  <a:pt x="201960" y="30557"/>
                </a:cubicBezTo>
                <a:cubicBezTo>
                  <a:pt x="201253" y="30389"/>
                  <a:pt x="200472" y="30305"/>
                  <a:pt x="199616" y="30305"/>
                </a:cubicBezTo>
                <a:cubicBezTo>
                  <a:pt x="198611" y="30305"/>
                  <a:pt x="197625" y="30519"/>
                  <a:pt x="196658" y="30947"/>
                </a:cubicBezTo>
                <a:cubicBezTo>
                  <a:pt x="195691" y="31375"/>
                  <a:pt x="194677" y="32063"/>
                  <a:pt x="193616" y="33012"/>
                </a:cubicBezTo>
                <a:cubicBezTo>
                  <a:pt x="192556" y="33961"/>
                  <a:pt x="191440" y="35217"/>
                  <a:pt x="190268" y="36779"/>
                </a:cubicBezTo>
                <a:cubicBezTo>
                  <a:pt x="189096" y="38342"/>
                  <a:pt x="187803" y="40258"/>
                  <a:pt x="186389" y="42528"/>
                </a:cubicBezTo>
                <a:lnTo>
                  <a:pt x="186389" y="76684"/>
                </a:lnTo>
                <a:cubicBezTo>
                  <a:pt x="186389" y="76907"/>
                  <a:pt x="186333" y="77112"/>
                  <a:pt x="186221" y="77298"/>
                </a:cubicBezTo>
                <a:cubicBezTo>
                  <a:pt x="186110" y="77484"/>
                  <a:pt x="185933" y="77633"/>
                  <a:pt x="185691" y="77744"/>
                </a:cubicBezTo>
                <a:cubicBezTo>
                  <a:pt x="185449" y="77856"/>
                  <a:pt x="185114" y="77949"/>
                  <a:pt x="184687" y="78023"/>
                </a:cubicBezTo>
                <a:cubicBezTo>
                  <a:pt x="184259" y="78098"/>
                  <a:pt x="183710" y="78135"/>
                  <a:pt x="183040" y="78135"/>
                </a:cubicBezTo>
                <a:cubicBezTo>
                  <a:pt x="182408" y="78135"/>
                  <a:pt x="181877" y="78098"/>
                  <a:pt x="181450" y="78023"/>
                </a:cubicBezTo>
                <a:cubicBezTo>
                  <a:pt x="181022" y="77949"/>
                  <a:pt x="180678" y="77856"/>
                  <a:pt x="180417" y="77744"/>
                </a:cubicBezTo>
                <a:cubicBezTo>
                  <a:pt x="180157" y="77633"/>
                  <a:pt x="179980" y="77484"/>
                  <a:pt x="179887" y="77298"/>
                </a:cubicBezTo>
                <a:cubicBezTo>
                  <a:pt x="179794" y="77112"/>
                  <a:pt x="179747" y="76907"/>
                  <a:pt x="179747" y="76684"/>
                </a:cubicBezTo>
                <a:lnTo>
                  <a:pt x="179747" y="26175"/>
                </a:lnTo>
                <a:cubicBezTo>
                  <a:pt x="179747" y="25952"/>
                  <a:pt x="179794" y="25747"/>
                  <a:pt x="179887" y="25561"/>
                </a:cubicBezTo>
                <a:cubicBezTo>
                  <a:pt x="179980" y="25375"/>
                  <a:pt x="180157" y="25217"/>
                  <a:pt x="180417" y="25087"/>
                </a:cubicBezTo>
                <a:cubicBezTo>
                  <a:pt x="180678" y="24957"/>
                  <a:pt x="181003" y="24864"/>
                  <a:pt x="181394" y="24808"/>
                </a:cubicBezTo>
                <a:cubicBezTo>
                  <a:pt x="181784" y="24752"/>
                  <a:pt x="182296" y="24724"/>
                  <a:pt x="182929" y="24724"/>
                </a:cubicBezTo>
                <a:cubicBezTo>
                  <a:pt x="183561" y="24724"/>
                  <a:pt x="184082" y="24752"/>
                  <a:pt x="184491" y="24808"/>
                </a:cubicBezTo>
                <a:cubicBezTo>
                  <a:pt x="184901" y="24864"/>
                  <a:pt x="185217" y="24957"/>
                  <a:pt x="185440" y="25087"/>
                </a:cubicBezTo>
                <a:cubicBezTo>
                  <a:pt x="185663" y="25217"/>
                  <a:pt x="185821" y="25375"/>
                  <a:pt x="185914" y="25561"/>
                </a:cubicBezTo>
                <a:cubicBezTo>
                  <a:pt x="186007" y="25747"/>
                  <a:pt x="186054" y="25952"/>
                  <a:pt x="186054" y="26175"/>
                </a:cubicBezTo>
                <a:lnTo>
                  <a:pt x="186054" y="34156"/>
                </a:lnTo>
                <a:cubicBezTo>
                  <a:pt x="187505" y="32035"/>
                  <a:pt x="188844" y="30324"/>
                  <a:pt x="190072" y="29022"/>
                </a:cubicBezTo>
                <a:cubicBezTo>
                  <a:pt x="191300" y="27719"/>
                  <a:pt x="192472" y="26706"/>
                  <a:pt x="193588" y="25980"/>
                </a:cubicBezTo>
                <a:cubicBezTo>
                  <a:pt x="194705" y="25255"/>
                  <a:pt x="195793" y="24762"/>
                  <a:pt x="196853" y="24501"/>
                </a:cubicBezTo>
                <a:cubicBezTo>
                  <a:pt x="197914" y="24241"/>
                  <a:pt x="199002" y="24110"/>
                  <a:pt x="200118" y="24110"/>
                </a:cubicBezTo>
                <a:close/>
                <a:moveTo>
                  <a:pt x="142466" y="24110"/>
                </a:moveTo>
                <a:cubicBezTo>
                  <a:pt x="146261" y="24110"/>
                  <a:pt x="149498" y="24743"/>
                  <a:pt x="152177" y="26008"/>
                </a:cubicBezTo>
                <a:cubicBezTo>
                  <a:pt x="154856" y="27273"/>
                  <a:pt x="157060" y="28975"/>
                  <a:pt x="158790" y="31115"/>
                </a:cubicBezTo>
                <a:cubicBezTo>
                  <a:pt x="160521" y="33254"/>
                  <a:pt x="161786" y="35738"/>
                  <a:pt x="162586" y="38565"/>
                </a:cubicBezTo>
                <a:cubicBezTo>
                  <a:pt x="163386" y="41393"/>
                  <a:pt x="163786" y="44370"/>
                  <a:pt x="163786" y="47495"/>
                </a:cubicBezTo>
                <a:lnTo>
                  <a:pt x="163786" y="48835"/>
                </a:lnTo>
                <a:cubicBezTo>
                  <a:pt x="163786" y="50174"/>
                  <a:pt x="163432" y="51095"/>
                  <a:pt x="162725" y="51597"/>
                </a:cubicBezTo>
                <a:cubicBezTo>
                  <a:pt x="162018" y="52099"/>
                  <a:pt x="161330" y="52351"/>
                  <a:pt x="160660" y="52351"/>
                </a:cubicBezTo>
                <a:lnTo>
                  <a:pt x="126225" y="52351"/>
                </a:lnTo>
                <a:cubicBezTo>
                  <a:pt x="126225" y="55476"/>
                  <a:pt x="126532" y="58304"/>
                  <a:pt x="127146" y="60834"/>
                </a:cubicBezTo>
                <a:cubicBezTo>
                  <a:pt x="127760" y="63364"/>
                  <a:pt x="128774" y="65531"/>
                  <a:pt x="130188" y="67336"/>
                </a:cubicBezTo>
                <a:cubicBezTo>
                  <a:pt x="131601" y="69140"/>
                  <a:pt x="133443" y="70526"/>
                  <a:pt x="135713" y="71494"/>
                </a:cubicBezTo>
                <a:cubicBezTo>
                  <a:pt x="137982" y="72461"/>
                  <a:pt x="140773" y="72945"/>
                  <a:pt x="144084" y="72945"/>
                </a:cubicBezTo>
                <a:cubicBezTo>
                  <a:pt x="146428" y="72945"/>
                  <a:pt x="148531" y="72740"/>
                  <a:pt x="150391" y="72331"/>
                </a:cubicBezTo>
                <a:cubicBezTo>
                  <a:pt x="152251" y="71922"/>
                  <a:pt x="153861" y="71466"/>
                  <a:pt x="155219" y="70963"/>
                </a:cubicBezTo>
                <a:cubicBezTo>
                  <a:pt x="156577" y="70461"/>
                  <a:pt x="157693" y="70005"/>
                  <a:pt x="158567" y="69596"/>
                </a:cubicBezTo>
                <a:cubicBezTo>
                  <a:pt x="159442" y="69187"/>
                  <a:pt x="160065" y="68982"/>
                  <a:pt x="160437" y="68982"/>
                </a:cubicBezTo>
                <a:cubicBezTo>
                  <a:pt x="160660" y="68982"/>
                  <a:pt x="160865" y="69038"/>
                  <a:pt x="161051" y="69150"/>
                </a:cubicBezTo>
                <a:cubicBezTo>
                  <a:pt x="161237" y="69261"/>
                  <a:pt x="161386" y="69438"/>
                  <a:pt x="161497" y="69680"/>
                </a:cubicBezTo>
                <a:cubicBezTo>
                  <a:pt x="161609" y="69922"/>
                  <a:pt x="161693" y="70229"/>
                  <a:pt x="161748" y="70601"/>
                </a:cubicBezTo>
                <a:cubicBezTo>
                  <a:pt x="161804" y="70973"/>
                  <a:pt x="161832" y="71438"/>
                  <a:pt x="161832" y="71996"/>
                </a:cubicBezTo>
                <a:cubicBezTo>
                  <a:pt x="161832" y="72256"/>
                  <a:pt x="161814" y="72508"/>
                  <a:pt x="161776" y="72749"/>
                </a:cubicBezTo>
                <a:cubicBezTo>
                  <a:pt x="161739" y="72991"/>
                  <a:pt x="161693" y="73214"/>
                  <a:pt x="161637" y="73419"/>
                </a:cubicBezTo>
                <a:cubicBezTo>
                  <a:pt x="161581" y="73624"/>
                  <a:pt x="161497" y="73819"/>
                  <a:pt x="161386" y="74005"/>
                </a:cubicBezTo>
                <a:cubicBezTo>
                  <a:pt x="161274" y="74191"/>
                  <a:pt x="161125" y="74377"/>
                  <a:pt x="160939" y="74563"/>
                </a:cubicBezTo>
                <a:cubicBezTo>
                  <a:pt x="160753" y="74749"/>
                  <a:pt x="160176" y="75075"/>
                  <a:pt x="159209" y="75540"/>
                </a:cubicBezTo>
                <a:cubicBezTo>
                  <a:pt x="158242" y="76005"/>
                  <a:pt x="156977" y="76470"/>
                  <a:pt x="155414" y="76935"/>
                </a:cubicBezTo>
                <a:cubicBezTo>
                  <a:pt x="153851" y="77400"/>
                  <a:pt x="152037" y="77819"/>
                  <a:pt x="149972" y="78191"/>
                </a:cubicBezTo>
                <a:cubicBezTo>
                  <a:pt x="147907" y="78563"/>
                  <a:pt x="145684" y="78749"/>
                  <a:pt x="143303" y="78749"/>
                </a:cubicBezTo>
                <a:cubicBezTo>
                  <a:pt x="139396" y="78749"/>
                  <a:pt x="135936" y="78163"/>
                  <a:pt x="132922" y="76991"/>
                </a:cubicBezTo>
                <a:cubicBezTo>
                  <a:pt x="129909" y="75819"/>
                  <a:pt x="127378" y="74089"/>
                  <a:pt x="125332" y="71801"/>
                </a:cubicBezTo>
                <a:cubicBezTo>
                  <a:pt x="123286" y="69512"/>
                  <a:pt x="121732" y="66675"/>
                  <a:pt x="120672" y="63290"/>
                </a:cubicBezTo>
                <a:cubicBezTo>
                  <a:pt x="119612" y="59904"/>
                  <a:pt x="119081" y="55978"/>
                  <a:pt x="119081" y="51513"/>
                </a:cubicBezTo>
                <a:cubicBezTo>
                  <a:pt x="119081" y="47235"/>
                  <a:pt x="119630" y="43402"/>
                  <a:pt x="120728" y="40017"/>
                </a:cubicBezTo>
                <a:cubicBezTo>
                  <a:pt x="121825" y="36631"/>
                  <a:pt x="123397" y="33756"/>
                  <a:pt x="125444" y="31394"/>
                </a:cubicBezTo>
                <a:cubicBezTo>
                  <a:pt x="127490" y="29031"/>
                  <a:pt x="129955" y="27226"/>
                  <a:pt x="132839" y="25980"/>
                </a:cubicBezTo>
                <a:cubicBezTo>
                  <a:pt x="135722" y="24734"/>
                  <a:pt x="138931" y="24110"/>
                  <a:pt x="142466" y="24110"/>
                </a:cubicBezTo>
                <a:close/>
                <a:moveTo>
                  <a:pt x="50509" y="24110"/>
                </a:moveTo>
                <a:cubicBezTo>
                  <a:pt x="53820" y="24110"/>
                  <a:pt x="56611" y="24668"/>
                  <a:pt x="58880" y="25785"/>
                </a:cubicBezTo>
                <a:cubicBezTo>
                  <a:pt x="61150" y="26901"/>
                  <a:pt x="62982" y="28408"/>
                  <a:pt x="64378" y="30305"/>
                </a:cubicBezTo>
                <a:cubicBezTo>
                  <a:pt x="65773" y="32203"/>
                  <a:pt x="66778" y="34417"/>
                  <a:pt x="67391" y="36947"/>
                </a:cubicBezTo>
                <a:cubicBezTo>
                  <a:pt x="68005" y="39477"/>
                  <a:pt x="68312" y="42528"/>
                  <a:pt x="68312" y="46100"/>
                </a:cubicBezTo>
                <a:lnTo>
                  <a:pt x="68312" y="76684"/>
                </a:lnTo>
                <a:cubicBezTo>
                  <a:pt x="68312" y="76907"/>
                  <a:pt x="68256" y="77112"/>
                  <a:pt x="68145" y="77298"/>
                </a:cubicBezTo>
                <a:cubicBezTo>
                  <a:pt x="68033" y="77484"/>
                  <a:pt x="67857" y="77633"/>
                  <a:pt x="67615" y="77744"/>
                </a:cubicBezTo>
                <a:cubicBezTo>
                  <a:pt x="67373" y="77856"/>
                  <a:pt x="67038" y="77949"/>
                  <a:pt x="66610" y="78023"/>
                </a:cubicBezTo>
                <a:cubicBezTo>
                  <a:pt x="66182" y="78098"/>
                  <a:pt x="65652" y="78135"/>
                  <a:pt x="65019" y="78135"/>
                </a:cubicBezTo>
                <a:cubicBezTo>
                  <a:pt x="64350" y="78135"/>
                  <a:pt x="63801" y="78098"/>
                  <a:pt x="63373" y="78023"/>
                </a:cubicBezTo>
                <a:cubicBezTo>
                  <a:pt x="62945" y="77949"/>
                  <a:pt x="62610" y="77856"/>
                  <a:pt x="62368" y="77744"/>
                </a:cubicBezTo>
                <a:cubicBezTo>
                  <a:pt x="62127" y="77633"/>
                  <a:pt x="61950" y="77484"/>
                  <a:pt x="61838" y="77298"/>
                </a:cubicBezTo>
                <a:cubicBezTo>
                  <a:pt x="61727" y="77112"/>
                  <a:pt x="61671" y="76907"/>
                  <a:pt x="61671" y="76684"/>
                </a:cubicBezTo>
                <a:lnTo>
                  <a:pt x="61671" y="46714"/>
                </a:lnTo>
                <a:cubicBezTo>
                  <a:pt x="61671" y="43588"/>
                  <a:pt x="61429" y="41049"/>
                  <a:pt x="60945" y="39096"/>
                </a:cubicBezTo>
                <a:cubicBezTo>
                  <a:pt x="60462" y="37142"/>
                  <a:pt x="59736" y="35468"/>
                  <a:pt x="58769" y="34073"/>
                </a:cubicBezTo>
                <a:cubicBezTo>
                  <a:pt x="57801" y="32677"/>
                  <a:pt x="56564" y="31598"/>
                  <a:pt x="55057" y="30836"/>
                </a:cubicBezTo>
                <a:cubicBezTo>
                  <a:pt x="53550" y="30073"/>
                  <a:pt x="51792" y="29691"/>
                  <a:pt x="49783" y="29691"/>
                </a:cubicBezTo>
                <a:cubicBezTo>
                  <a:pt x="47216" y="29691"/>
                  <a:pt x="44649" y="30603"/>
                  <a:pt x="42081" y="32426"/>
                </a:cubicBezTo>
                <a:cubicBezTo>
                  <a:pt x="39514" y="34249"/>
                  <a:pt x="36817" y="36928"/>
                  <a:pt x="33989" y="40463"/>
                </a:cubicBezTo>
                <a:lnTo>
                  <a:pt x="33989" y="76684"/>
                </a:lnTo>
                <a:cubicBezTo>
                  <a:pt x="33989" y="76907"/>
                  <a:pt x="33933" y="77112"/>
                  <a:pt x="33821" y="77298"/>
                </a:cubicBezTo>
                <a:cubicBezTo>
                  <a:pt x="33710" y="77484"/>
                  <a:pt x="33533" y="77633"/>
                  <a:pt x="33291" y="77744"/>
                </a:cubicBezTo>
                <a:cubicBezTo>
                  <a:pt x="33049" y="77856"/>
                  <a:pt x="32714" y="77949"/>
                  <a:pt x="32287" y="78023"/>
                </a:cubicBezTo>
                <a:cubicBezTo>
                  <a:pt x="31859" y="78098"/>
                  <a:pt x="31310" y="78135"/>
                  <a:pt x="30640" y="78135"/>
                </a:cubicBezTo>
                <a:cubicBezTo>
                  <a:pt x="30008" y="78135"/>
                  <a:pt x="29477" y="78098"/>
                  <a:pt x="29050" y="78023"/>
                </a:cubicBezTo>
                <a:cubicBezTo>
                  <a:pt x="28622" y="77949"/>
                  <a:pt x="28278" y="77856"/>
                  <a:pt x="28017" y="77744"/>
                </a:cubicBezTo>
                <a:cubicBezTo>
                  <a:pt x="27757" y="77633"/>
                  <a:pt x="27580" y="77484"/>
                  <a:pt x="27487" y="77298"/>
                </a:cubicBezTo>
                <a:cubicBezTo>
                  <a:pt x="27394" y="77112"/>
                  <a:pt x="27347" y="76907"/>
                  <a:pt x="27347" y="76684"/>
                </a:cubicBezTo>
                <a:lnTo>
                  <a:pt x="27347" y="26175"/>
                </a:lnTo>
                <a:cubicBezTo>
                  <a:pt x="27347" y="25952"/>
                  <a:pt x="27394" y="25747"/>
                  <a:pt x="27487" y="25561"/>
                </a:cubicBezTo>
                <a:cubicBezTo>
                  <a:pt x="27580" y="25375"/>
                  <a:pt x="27757" y="25217"/>
                  <a:pt x="28017" y="25087"/>
                </a:cubicBezTo>
                <a:cubicBezTo>
                  <a:pt x="28278" y="24957"/>
                  <a:pt x="28603" y="24864"/>
                  <a:pt x="28994" y="24808"/>
                </a:cubicBezTo>
                <a:cubicBezTo>
                  <a:pt x="29384" y="24752"/>
                  <a:pt x="29896" y="24724"/>
                  <a:pt x="30529" y="24724"/>
                </a:cubicBezTo>
                <a:cubicBezTo>
                  <a:pt x="31161" y="24724"/>
                  <a:pt x="31682" y="24752"/>
                  <a:pt x="32091" y="24808"/>
                </a:cubicBezTo>
                <a:cubicBezTo>
                  <a:pt x="32501" y="24864"/>
                  <a:pt x="32817" y="24957"/>
                  <a:pt x="33040" y="25087"/>
                </a:cubicBezTo>
                <a:cubicBezTo>
                  <a:pt x="33263" y="25217"/>
                  <a:pt x="33421" y="25375"/>
                  <a:pt x="33514" y="25561"/>
                </a:cubicBezTo>
                <a:cubicBezTo>
                  <a:pt x="33607" y="25747"/>
                  <a:pt x="33654" y="25952"/>
                  <a:pt x="33654" y="26175"/>
                </a:cubicBezTo>
                <a:lnTo>
                  <a:pt x="33654" y="33319"/>
                </a:lnTo>
                <a:cubicBezTo>
                  <a:pt x="36556" y="30082"/>
                  <a:pt x="39402" y="27738"/>
                  <a:pt x="42193" y="26287"/>
                </a:cubicBezTo>
                <a:cubicBezTo>
                  <a:pt x="44984" y="24836"/>
                  <a:pt x="47755" y="24110"/>
                  <a:pt x="50509" y="24110"/>
                </a:cubicBezTo>
                <a:close/>
                <a:moveTo>
                  <a:pt x="89855" y="11162"/>
                </a:moveTo>
                <a:cubicBezTo>
                  <a:pt x="90525" y="11162"/>
                  <a:pt x="91074" y="11190"/>
                  <a:pt x="91502" y="11246"/>
                </a:cubicBezTo>
                <a:cubicBezTo>
                  <a:pt x="91929" y="11302"/>
                  <a:pt x="92264" y="11395"/>
                  <a:pt x="92506" y="11525"/>
                </a:cubicBezTo>
                <a:cubicBezTo>
                  <a:pt x="92748" y="11655"/>
                  <a:pt x="92925" y="11813"/>
                  <a:pt x="93036" y="11999"/>
                </a:cubicBezTo>
                <a:cubicBezTo>
                  <a:pt x="93148" y="12186"/>
                  <a:pt x="93204" y="12390"/>
                  <a:pt x="93204" y="12613"/>
                </a:cubicBezTo>
                <a:lnTo>
                  <a:pt x="93204" y="25003"/>
                </a:lnTo>
                <a:lnTo>
                  <a:pt x="107156" y="25003"/>
                </a:lnTo>
                <a:cubicBezTo>
                  <a:pt x="107417" y="25003"/>
                  <a:pt x="107649" y="25059"/>
                  <a:pt x="107854" y="25171"/>
                </a:cubicBezTo>
                <a:cubicBezTo>
                  <a:pt x="108059" y="25282"/>
                  <a:pt x="108235" y="25459"/>
                  <a:pt x="108384" y="25701"/>
                </a:cubicBezTo>
                <a:cubicBezTo>
                  <a:pt x="108533" y="25943"/>
                  <a:pt x="108645" y="26240"/>
                  <a:pt x="108719" y="26594"/>
                </a:cubicBezTo>
                <a:cubicBezTo>
                  <a:pt x="108794" y="26947"/>
                  <a:pt x="108831" y="27366"/>
                  <a:pt x="108831" y="27850"/>
                </a:cubicBezTo>
                <a:cubicBezTo>
                  <a:pt x="108831" y="28780"/>
                  <a:pt x="108673" y="29477"/>
                  <a:pt x="108356" y="29943"/>
                </a:cubicBezTo>
                <a:cubicBezTo>
                  <a:pt x="108040" y="30408"/>
                  <a:pt x="107640" y="30640"/>
                  <a:pt x="107156" y="30640"/>
                </a:cubicBezTo>
                <a:lnTo>
                  <a:pt x="93204" y="30640"/>
                </a:lnTo>
                <a:lnTo>
                  <a:pt x="93204" y="61169"/>
                </a:lnTo>
                <a:cubicBezTo>
                  <a:pt x="93204" y="65001"/>
                  <a:pt x="93753" y="67922"/>
                  <a:pt x="94850" y="69931"/>
                </a:cubicBezTo>
                <a:cubicBezTo>
                  <a:pt x="95948" y="71940"/>
                  <a:pt x="97948" y="72945"/>
                  <a:pt x="100850" y="72945"/>
                </a:cubicBezTo>
                <a:cubicBezTo>
                  <a:pt x="101743" y="72945"/>
                  <a:pt x="102552" y="72852"/>
                  <a:pt x="103278" y="72666"/>
                </a:cubicBezTo>
                <a:cubicBezTo>
                  <a:pt x="104003" y="72480"/>
                  <a:pt x="104645" y="72275"/>
                  <a:pt x="105203" y="72052"/>
                </a:cubicBezTo>
                <a:cubicBezTo>
                  <a:pt x="105761" y="71829"/>
                  <a:pt x="106236" y="71624"/>
                  <a:pt x="106626" y="71438"/>
                </a:cubicBezTo>
                <a:cubicBezTo>
                  <a:pt x="107017" y="71252"/>
                  <a:pt x="107361" y="71159"/>
                  <a:pt x="107659" y="71159"/>
                </a:cubicBezTo>
                <a:cubicBezTo>
                  <a:pt x="107845" y="71159"/>
                  <a:pt x="108012" y="71196"/>
                  <a:pt x="108161" y="71270"/>
                </a:cubicBezTo>
                <a:cubicBezTo>
                  <a:pt x="108310" y="71345"/>
                  <a:pt x="108431" y="71484"/>
                  <a:pt x="108524" y="71689"/>
                </a:cubicBezTo>
                <a:cubicBezTo>
                  <a:pt x="108617" y="71894"/>
                  <a:pt x="108691" y="72154"/>
                  <a:pt x="108747" y="72470"/>
                </a:cubicBezTo>
                <a:cubicBezTo>
                  <a:pt x="108803" y="72787"/>
                  <a:pt x="108831" y="73187"/>
                  <a:pt x="108831" y="73670"/>
                </a:cubicBezTo>
                <a:cubicBezTo>
                  <a:pt x="108831" y="74452"/>
                  <a:pt x="108766" y="75084"/>
                  <a:pt x="108635" y="75568"/>
                </a:cubicBezTo>
                <a:cubicBezTo>
                  <a:pt x="108505" y="76052"/>
                  <a:pt x="108301" y="76433"/>
                  <a:pt x="108022" y="76712"/>
                </a:cubicBezTo>
                <a:cubicBezTo>
                  <a:pt x="107742" y="76991"/>
                  <a:pt x="107333" y="77251"/>
                  <a:pt x="106794" y="77493"/>
                </a:cubicBezTo>
                <a:cubicBezTo>
                  <a:pt x="106254" y="77735"/>
                  <a:pt x="105631" y="77940"/>
                  <a:pt x="104924" y="78107"/>
                </a:cubicBezTo>
                <a:cubicBezTo>
                  <a:pt x="104217" y="78275"/>
                  <a:pt x="103473" y="78405"/>
                  <a:pt x="102692" y="78498"/>
                </a:cubicBezTo>
                <a:cubicBezTo>
                  <a:pt x="101910" y="78591"/>
                  <a:pt x="101148" y="78637"/>
                  <a:pt x="100403" y="78637"/>
                </a:cubicBezTo>
                <a:cubicBezTo>
                  <a:pt x="97910" y="78637"/>
                  <a:pt x="95790" y="78303"/>
                  <a:pt x="94041" y="77633"/>
                </a:cubicBezTo>
                <a:cubicBezTo>
                  <a:pt x="92292" y="76963"/>
                  <a:pt x="90860" y="75949"/>
                  <a:pt x="89744" y="74591"/>
                </a:cubicBezTo>
                <a:cubicBezTo>
                  <a:pt x="88627" y="73233"/>
                  <a:pt x="87818" y="71512"/>
                  <a:pt x="87316" y="69429"/>
                </a:cubicBezTo>
                <a:cubicBezTo>
                  <a:pt x="86814" y="67345"/>
                  <a:pt x="86562" y="64889"/>
                  <a:pt x="86562" y="62062"/>
                </a:cubicBezTo>
                <a:lnTo>
                  <a:pt x="86562" y="30640"/>
                </a:lnTo>
                <a:lnTo>
                  <a:pt x="79028" y="30640"/>
                </a:lnTo>
                <a:cubicBezTo>
                  <a:pt x="78507" y="30640"/>
                  <a:pt x="78098" y="30408"/>
                  <a:pt x="77800" y="29943"/>
                </a:cubicBezTo>
                <a:cubicBezTo>
                  <a:pt x="77502" y="29477"/>
                  <a:pt x="77354" y="28780"/>
                  <a:pt x="77354" y="27850"/>
                </a:cubicBezTo>
                <a:cubicBezTo>
                  <a:pt x="77354" y="27366"/>
                  <a:pt x="77391" y="26947"/>
                  <a:pt x="77465" y="26594"/>
                </a:cubicBezTo>
                <a:cubicBezTo>
                  <a:pt x="77540" y="26240"/>
                  <a:pt x="77651" y="25943"/>
                  <a:pt x="77800" y="25701"/>
                </a:cubicBezTo>
                <a:cubicBezTo>
                  <a:pt x="77949" y="25459"/>
                  <a:pt x="78126" y="25282"/>
                  <a:pt x="78330" y="25171"/>
                </a:cubicBezTo>
                <a:cubicBezTo>
                  <a:pt x="78535" y="25059"/>
                  <a:pt x="78767" y="25003"/>
                  <a:pt x="79028" y="25003"/>
                </a:cubicBezTo>
                <a:lnTo>
                  <a:pt x="86562" y="25003"/>
                </a:lnTo>
                <a:lnTo>
                  <a:pt x="86562" y="12613"/>
                </a:lnTo>
                <a:cubicBezTo>
                  <a:pt x="86562" y="12390"/>
                  <a:pt x="86609" y="12186"/>
                  <a:pt x="86702" y="11999"/>
                </a:cubicBezTo>
                <a:cubicBezTo>
                  <a:pt x="86795" y="11813"/>
                  <a:pt x="86972" y="11655"/>
                  <a:pt x="87232" y="11525"/>
                </a:cubicBezTo>
                <a:cubicBezTo>
                  <a:pt x="87493" y="11395"/>
                  <a:pt x="87837" y="11302"/>
                  <a:pt x="88265" y="11246"/>
                </a:cubicBezTo>
                <a:cubicBezTo>
                  <a:pt x="88692" y="11190"/>
                  <a:pt x="89223" y="11162"/>
                  <a:pt x="89855" y="11162"/>
                </a:cubicBezTo>
                <a:close/>
                <a:moveTo>
                  <a:pt x="3405" y="5246"/>
                </a:moveTo>
                <a:cubicBezTo>
                  <a:pt x="4074" y="5246"/>
                  <a:pt x="4623" y="5284"/>
                  <a:pt x="5051" y="5358"/>
                </a:cubicBezTo>
                <a:cubicBezTo>
                  <a:pt x="5479" y="5432"/>
                  <a:pt x="5823" y="5525"/>
                  <a:pt x="6084" y="5637"/>
                </a:cubicBezTo>
                <a:cubicBezTo>
                  <a:pt x="6344" y="5749"/>
                  <a:pt x="6530" y="5898"/>
                  <a:pt x="6642" y="6084"/>
                </a:cubicBezTo>
                <a:cubicBezTo>
                  <a:pt x="6753" y="6270"/>
                  <a:pt x="6809" y="6474"/>
                  <a:pt x="6809" y="6697"/>
                </a:cubicBezTo>
                <a:lnTo>
                  <a:pt x="6809" y="76684"/>
                </a:lnTo>
                <a:cubicBezTo>
                  <a:pt x="6809" y="76907"/>
                  <a:pt x="6753" y="77112"/>
                  <a:pt x="6642" y="77298"/>
                </a:cubicBezTo>
                <a:cubicBezTo>
                  <a:pt x="6530" y="77484"/>
                  <a:pt x="6344" y="77633"/>
                  <a:pt x="6084" y="77744"/>
                </a:cubicBezTo>
                <a:cubicBezTo>
                  <a:pt x="5823" y="77856"/>
                  <a:pt x="5479" y="77949"/>
                  <a:pt x="5051" y="78023"/>
                </a:cubicBezTo>
                <a:cubicBezTo>
                  <a:pt x="4623" y="78098"/>
                  <a:pt x="4074" y="78135"/>
                  <a:pt x="3405" y="78135"/>
                </a:cubicBezTo>
                <a:cubicBezTo>
                  <a:pt x="2772" y="78135"/>
                  <a:pt x="2233" y="78098"/>
                  <a:pt x="1786" y="78023"/>
                </a:cubicBezTo>
                <a:cubicBezTo>
                  <a:pt x="1340" y="77949"/>
                  <a:pt x="986" y="77856"/>
                  <a:pt x="726" y="77744"/>
                </a:cubicBezTo>
                <a:cubicBezTo>
                  <a:pt x="465" y="77633"/>
                  <a:pt x="279" y="77484"/>
                  <a:pt x="168" y="77298"/>
                </a:cubicBezTo>
                <a:cubicBezTo>
                  <a:pt x="56" y="77112"/>
                  <a:pt x="0" y="76907"/>
                  <a:pt x="0" y="76684"/>
                </a:cubicBezTo>
                <a:lnTo>
                  <a:pt x="0" y="6697"/>
                </a:lnTo>
                <a:cubicBezTo>
                  <a:pt x="0" y="6474"/>
                  <a:pt x="65" y="6270"/>
                  <a:pt x="196" y="6084"/>
                </a:cubicBezTo>
                <a:cubicBezTo>
                  <a:pt x="326" y="5898"/>
                  <a:pt x="530" y="5749"/>
                  <a:pt x="809" y="5637"/>
                </a:cubicBezTo>
                <a:cubicBezTo>
                  <a:pt x="1088" y="5525"/>
                  <a:pt x="1442" y="5432"/>
                  <a:pt x="1870" y="5358"/>
                </a:cubicBezTo>
                <a:cubicBezTo>
                  <a:pt x="2298" y="5284"/>
                  <a:pt x="2809" y="5246"/>
                  <a:pt x="3405" y="5246"/>
                </a:cubicBezTo>
                <a:close/>
                <a:moveTo>
                  <a:pt x="335440" y="0"/>
                </a:moveTo>
                <a:cubicBezTo>
                  <a:pt x="336110" y="0"/>
                  <a:pt x="336659" y="28"/>
                  <a:pt x="337087" y="84"/>
                </a:cubicBezTo>
                <a:cubicBezTo>
                  <a:pt x="337514" y="140"/>
                  <a:pt x="337849" y="233"/>
                  <a:pt x="338091" y="363"/>
                </a:cubicBezTo>
                <a:cubicBezTo>
                  <a:pt x="338333" y="493"/>
                  <a:pt x="338510" y="651"/>
                  <a:pt x="338621" y="837"/>
                </a:cubicBezTo>
                <a:cubicBezTo>
                  <a:pt x="338733" y="1023"/>
                  <a:pt x="338789" y="1228"/>
                  <a:pt x="338789" y="1451"/>
                </a:cubicBezTo>
                <a:lnTo>
                  <a:pt x="338789" y="76684"/>
                </a:lnTo>
                <a:cubicBezTo>
                  <a:pt x="338789" y="76907"/>
                  <a:pt x="338733" y="77112"/>
                  <a:pt x="338621" y="77298"/>
                </a:cubicBezTo>
                <a:cubicBezTo>
                  <a:pt x="338510" y="77484"/>
                  <a:pt x="338333" y="77633"/>
                  <a:pt x="338091" y="77744"/>
                </a:cubicBezTo>
                <a:cubicBezTo>
                  <a:pt x="337849" y="77856"/>
                  <a:pt x="337514" y="77949"/>
                  <a:pt x="337087" y="78023"/>
                </a:cubicBezTo>
                <a:cubicBezTo>
                  <a:pt x="336659" y="78098"/>
                  <a:pt x="336110" y="78135"/>
                  <a:pt x="335440" y="78135"/>
                </a:cubicBezTo>
                <a:cubicBezTo>
                  <a:pt x="334808" y="78135"/>
                  <a:pt x="334277" y="78098"/>
                  <a:pt x="333850" y="78023"/>
                </a:cubicBezTo>
                <a:cubicBezTo>
                  <a:pt x="333422" y="77949"/>
                  <a:pt x="333078" y="77856"/>
                  <a:pt x="332817" y="77744"/>
                </a:cubicBezTo>
                <a:cubicBezTo>
                  <a:pt x="332557" y="77633"/>
                  <a:pt x="332380" y="77484"/>
                  <a:pt x="332287" y="77298"/>
                </a:cubicBezTo>
                <a:cubicBezTo>
                  <a:pt x="332194" y="77112"/>
                  <a:pt x="332147" y="76907"/>
                  <a:pt x="332147" y="76684"/>
                </a:cubicBezTo>
                <a:lnTo>
                  <a:pt x="332147" y="1451"/>
                </a:lnTo>
                <a:cubicBezTo>
                  <a:pt x="332147" y="1228"/>
                  <a:pt x="332194" y="1023"/>
                  <a:pt x="332287" y="837"/>
                </a:cubicBezTo>
                <a:cubicBezTo>
                  <a:pt x="332380" y="651"/>
                  <a:pt x="332557" y="493"/>
                  <a:pt x="332817" y="363"/>
                </a:cubicBezTo>
                <a:cubicBezTo>
                  <a:pt x="333078" y="233"/>
                  <a:pt x="333422" y="140"/>
                  <a:pt x="333850" y="84"/>
                </a:cubicBezTo>
                <a:cubicBezTo>
                  <a:pt x="334277" y="28"/>
                  <a:pt x="334808" y="0"/>
                  <a:pt x="33544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a-DK" sz="900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AA43A774-7F8D-41AC-901E-E92A85A2B7F5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C84BA62-854A-42A6-AC64-26A684549F93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12" name="Pladsholder til titel 1">
            <a:extLst>
              <a:ext uri="{FF2B5EF4-FFF2-40B4-BE49-F238E27FC236}">
                <a16:creationId xmlns:a16="http://schemas.microsoft.com/office/drawing/2014/main" id="{EB21E38C-EA93-FE44-90A2-22204C274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00" y="5400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62B979A1-004F-D444-A5CC-F973BEEE08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600" y="10080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504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76" r:id="rId3"/>
    <p:sldLayoutId id="2147483852" r:id="rId4"/>
    <p:sldLayoutId id="2147484023" r:id="rId5"/>
    <p:sldLayoutId id="2147484014" r:id="rId6"/>
    <p:sldLayoutId id="2147484008" r:id="rId7"/>
    <p:sldLayoutId id="2147484016" r:id="rId8"/>
    <p:sldLayoutId id="2147484010" r:id="rId9"/>
    <p:sldLayoutId id="2147483854" r:id="rId10"/>
    <p:sldLayoutId id="2147484024" r:id="rId11"/>
    <p:sldLayoutId id="2147483855" r:id="rId12"/>
    <p:sldLayoutId id="2147483856" r:id="rId13"/>
    <p:sldLayoutId id="2147483857" r:id="rId14"/>
    <p:sldLayoutId id="2147483858" r:id="rId15"/>
    <p:sldLayoutId id="2147483859" r:id="rId16"/>
    <p:sldLayoutId id="2147483860" r:id="rId17"/>
    <p:sldLayoutId id="2147483861" r:id="rId18"/>
    <p:sldLayoutId id="2147483862" r:id="rId19"/>
    <p:sldLayoutId id="2147483863" r:id="rId20"/>
    <p:sldLayoutId id="2147483864" r:id="rId21"/>
    <p:sldLayoutId id="2147483870" r:id="rId22"/>
    <p:sldLayoutId id="2147483866" r:id="rId23"/>
    <p:sldLayoutId id="2147483867" r:id="rId24"/>
    <p:sldLayoutId id="2147483871" r:id="rId25"/>
    <p:sldLayoutId id="2147483865" r:id="rId26"/>
    <p:sldLayoutId id="2147483877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606" userDrawn="1">
          <p15:clr>
            <a:srgbClr val="F26B43"/>
          </p15:clr>
        </p15:guide>
        <p15:guide id="3" orient="horz" pos="304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Kombinationstegning: figur 11">
            <a:extLst>
              <a:ext uri="{FF2B5EF4-FFF2-40B4-BE49-F238E27FC236}">
                <a16:creationId xmlns:a16="http://schemas.microsoft.com/office/drawing/2014/main" id="{2018ED2B-E46A-F66E-4FFA-148E0EB79BB2}"/>
              </a:ext>
            </a:extLst>
          </p:cNvPr>
          <p:cNvSpPr/>
          <p:nvPr userDrawn="1"/>
        </p:nvSpPr>
        <p:spPr>
          <a:xfrm>
            <a:off x="8356135" y="4761204"/>
            <a:ext cx="543390" cy="79084"/>
          </a:xfrm>
          <a:custGeom>
            <a:avLst/>
            <a:gdLst/>
            <a:ahLst/>
            <a:cxnLst/>
            <a:rect l="l" t="t" r="r" b="b"/>
            <a:pathLst>
              <a:path w="543390" h="79084">
                <a:moveTo>
                  <a:pt x="499132" y="53188"/>
                </a:moveTo>
                <a:cubicBezTo>
                  <a:pt x="496453" y="53188"/>
                  <a:pt x="494109" y="53430"/>
                  <a:pt x="492100" y="53913"/>
                </a:cubicBezTo>
                <a:cubicBezTo>
                  <a:pt x="490091" y="54397"/>
                  <a:pt x="488416" y="55104"/>
                  <a:pt x="487077" y="56034"/>
                </a:cubicBezTo>
                <a:cubicBezTo>
                  <a:pt x="485737" y="56964"/>
                  <a:pt x="484742" y="58081"/>
                  <a:pt x="484091" y="59383"/>
                </a:cubicBezTo>
                <a:cubicBezTo>
                  <a:pt x="483440" y="60685"/>
                  <a:pt x="483114" y="62173"/>
                  <a:pt x="483114" y="63848"/>
                </a:cubicBezTo>
                <a:cubicBezTo>
                  <a:pt x="483114" y="66750"/>
                  <a:pt x="484035" y="69066"/>
                  <a:pt x="485877" y="70796"/>
                </a:cubicBezTo>
                <a:cubicBezTo>
                  <a:pt x="487719" y="72526"/>
                  <a:pt x="490314" y="73391"/>
                  <a:pt x="493663" y="73391"/>
                </a:cubicBezTo>
                <a:cubicBezTo>
                  <a:pt x="496304" y="73391"/>
                  <a:pt x="498769" y="72712"/>
                  <a:pt x="501057" y="71354"/>
                </a:cubicBezTo>
                <a:cubicBezTo>
                  <a:pt x="503346" y="69996"/>
                  <a:pt x="505773" y="67903"/>
                  <a:pt x="508341" y="65075"/>
                </a:cubicBezTo>
                <a:lnTo>
                  <a:pt x="508341" y="53188"/>
                </a:lnTo>
                <a:close/>
                <a:moveTo>
                  <a:pt x="81092" y="30250"/>
                </a:moveTo>
                <a:cubicBezTo>
                  <a:pt x="78079" y="30250"/>
                  <a:pt x="75474" y="30789"/>
                  <a:pt x="73279" y="31868"/>
                </a:cubicBezTo>
                <a:cubicBezTo>
                  <a:pt x="71084" y="32947"/>
                  <a:pt x="69289" y="34445"/>
                  <a:pt x="67893" y="36361"/>
                </a:cubicBezTo>
                <a:cubicBezTo>
                  <a:pt x="66498" y="38277"/>
                  <a:pt x="65465" y="40537"/>
                  <a:pt x="64796" y="43142"/>
                </a:cubicBezTo>
                <a:cubicBezTo>
                  <a:pt x="64126" y="45746"/>
                  <a:pt x="63791" y="48556"/>
                  <a:pt x="63791" y="51569"/>
                </a:cubicBezTo>
                <a:cubicBezTo>
                  <a:pt x="63791" y="54471"/>
                  <a:pt x="64070" y="57234"/>
                  <a:pt x="64628" y="59857"/>
                </a:cubicBezTo>
                <a:cubicBezTo>
                  <a:pt x="65186" y="62480"/>
                  <a:pt x="66117" y="64778"/>
                  <a:pt x="67419" y="66750"/>
                </a:cubicBezTo>
                <a:cubicBezTo>
                  <a:pt x="68721" y="68722"/>
                  <a:pt x="70470" y="70284"/>
                  <a:pt x="72665" y="71438"/>
                </a:cubicBezTo>
                <a:cubicBezTo>
                  <a:pt x="74860" y="72591"/>
                  <a:pt x="77595" y="73168"/>
                  <a:pt x="80869" y="73168"/>
                </a:cubicBezTo>
                <a:cubicBezTo>
                  <a:pt x="83883" y="73168"/>
                  <a:pt x="86487" y="72628"/>
                  <a:pt x="88683" y="71549"/>
                </a:cubicBezTo>
                <a:cubicBezTo>
                  <a:pt x="90878" y="70470"/>
                  <a:pt x="92673" y="68982"/>
                  <a:pt x="94068" y="67085"/>
                </a:cubicBezTo>
                <a:cubicBezTo>
                  <a:pt x="95464" y="65187"/>
                  <a:pt x="96496" y="62936"/>
                  <a:pt x="97166" y="60332"/>
                </a:cubicBezTo>
                <a:cubicBezTo>
                  <a:pt x="97836" y="57727"/>
                  <a:pt x="98170" y="54899"/>
                  <a:pt x="98170" y="51848"/>
                </a:cubicBezTo>
                <a:cubicBezTo>
                  <a:pt x="98170" y="48983"/>
                  <a:pt x="97891" y="46249"/>
                  <a:pt x="97333" y="43644"/>
                </a:cubicBezTo>
                <a:cubicBezTo>
                  <a:pt x="96775" y="41040"/>
                  <a:pt x="95845" y="38742"/>
                  <a:pt x="94543" y="36752"/>
                </a:cubicBezTo>
                <a:cubicBezTo>
                  <a:pt x="93241" y="34761"/>
                  <a:pt x="91492" y="33180"/>
                  <a:pt x="89297" y="32008"/>
                </a:cubicBezTo>
                <a:cubicBezTo>
                  <a:pt x="87101" y="30836"/>
                  <a:pt x="84367" y="30250"/>
                  <a:pt x="81092" y="30250"/>
                </a:cubicBezTo>
                <a:close/>
                <a:moveTo>
                  <a:pt x="318045" y="30138"/>
                </a:moveTo>
                <a:cubicBezTo>
                  <a:pt x="315515" y="30138"/>
                  <a:pt x="313292" y="30612"/>
                  <a:pt x="311376" y="31561"/>
                </a:cubicBezTo>
                <a:cubicBezTo>
                  <a:pt x="309460" y="32510"/>
                  <a:pt x="307841" y="33766"/>
                  <a:pt x="306521" y="35328"/>
                </a:cubicBezTo>
                <a:cubicBezTo>
                  <a:pt x="305200" y="36891"/>
                  <a:pt x="304186" y="38705"/>
                  <a:pt x="303479" y="40770"/>
                </a:cubicBezTo>
                <a:cubicBezTo>
                  <a:pt x="302772" y="42835"/>
                  <a:pt x="302363" y="44984"/>
                  <a:pt x="302251" y="47216"/>
                </a:cubicBezTo>
                <a:lnTo>
                  <a:pt x="332947" y="47216"/>
                </a:lnTo>
                <a:cubicBezTo>
                  <a:pt x="333058" y="41858"/>
                  <a:pt x="331831" y="37672"/>
                  <a:pt x="329263" y="34659"/>
                </a:cubicBezTo>
                <a:cubicBezTo>
                  <a:pt x="326696" y="31645"/>
                  <a:pt x="322957" y="30138"/>
                  <a:pt x="318045" y="30138"/>
                </a:cubicBezTo>
                <a:close/>
                <a:moveTo>
                  <a:pt x="259389" y="30138"/>
                </a:moveTo>
                <a:cubicBezTo>
                  <a:pt x="256821" y="30138"/>
                  <a:pt x="254626" y="30752"/>
                  <a:pt x="252803" y="31980"/>
                </a:cubicBezTo>
                <a:cubicBezTo>
                  <a:pt x="250980" y="33208"/>
                  <a:pt x="249491" y="34826"/>
                  <a:pt x="248338" y="36835"/>
                </a:cubicBezTo>
                <a:cubicBezTo>
                  <a:pt x="247185" y="38845"/>
                  <a:pt x="246347" y="41114"/>
                  <a:pt x="245827" y="43644"/>
                </a:cubicBezTo>
                <a:cubicBezTo>
                  <a:pt x="245306" y="46174"/>
                  <a:pt x="245045" y="48742"/>
                  <a:pt x="245045" y="51346"/>
                </a:cubicBezTo>
                <a:cubicBezTo>
                  <a:pt x="245045" y="54137"/>
                  <a:pt x="245268" y="56853"/>
                  <a:pt x="245715" y="59494"/>
                </a:cubicBezTo>
                <a:cubicBezTo>
                  <a:pt x="246161" y="62136"/>
                  <a:pt x="246924" y="64489"/>
                  <a:pt x="248003" y="66554"/>
                </a:cubicBezTo>
                <a:cubicBezTo>
                  <a:pt x="249082" y="68619"/>
                  <a:pt x="250515" y="70275"/>
                  <a:pt x="252301" y="71522"/>
                </a:cubicBezTo>
                <a:cubicBezTo>
                  <a:pt x="254087" y="72768"/>
                  <a:pt x="256319" y="73391"/>
                  <a:pt x="258998" y="73391"/>
                </a:cubicBezTo>
                <a:cubicBezTo>
                  <a:pt x="260337" y="73391"/>
                  <a:pt x="261640" y="73205"/>
                  <a:pt x="262905" y="72833"/>
                </a:cubicBezTo>
                <a:cubicBezTo>
                  <a:pt x="264170" y="72461"/>
                  <a:pt x="265472" y="71847"/>
                  <a:pt x="266811" y="70991"/>
                </a:cubicBezTo>
                <a:cubicBezTo>
                  <a:pt x="268151" y="70136"/>
                  <a:pt x="269537" y="69029"/>
                  <a:pt x="270969" y="67671"/>
                </a:cubicBezTo>
                <a:cubicBezTo>
                  <a:pt x="272402" y="66313"/>
                  <a:pt x="273936" y="64629"/>
                  <a:pt x="275574" y="62620"/>
                </a:cubicBezTo>
                <a:lnTo>
                  <a:pt x="275574" y="40575"/>
                </a:lnTo>
                <a:cubicBezTo>
                  <a:pt x="272783" y="37189"/>
                  <a:pt x="270095" y="34603"/>
                  <a:pt x="267509" y="32817"/>
                </a:cubicBezTo>
                <a:cubicBezTo>
                  <a:pt x="264923" y="31031"/>
                  <a:pt x="262216" y="30138"/>
                  <a:pt x="259389" y="30138"/>
                </a:cubicBezTo>
                <a:close/>
                <a:moveTo>
                  <a:pt x="454316" y="25059"/>
                </a:moveTo>
                <a:cubicBezTo>
                  <a:pt x="454986" y="25059"/>
                  <a:pt x="455535" y="25087"/>
                  <a:pt x="455963" y="25143"/>
                </a:cubicBezTo>
                <a:cubicBezTo>
                  <a:pt x="456390" y="25199"/>
                  <a:pt x="456725" y="25292"/>
                  <a:pt x="456967" y="25422"/>
                </a:cubicBezTo>
                <a:cubicBezTo>
                  <a:pt x="457209" y="25552"/>
                  <a:pt x="457386" y="25710"/>
                  <a:pt x="457497" y="25896"/>
                </a:cubicBezTo>
                <a:cubicBezTo>
                  <a:pt x="457609" y="26082"/>
                  <a:pt x="457665" y="26287"/>
                  <a:pt x="457665" y="26510"/>
                </a:cubicBezTo>
                <a:lnTo>
                  <a:pt x="457665" y="77019"/>
                </a:lnTo>
                <a:cubicBezTo>
                  <a:pt x="457665" y="77242"/>
                  <a:pt x="457609" y="77447"/>
                  <a:pt x="457497" y="77633"/>
                </a:cubicBezTo>
                <a:cubicBezTo>
                  <a:pt x="457386" y="77819"/>
                  <a:pt x="457209" y="77968"/>
                  <a:pt x="456967" y="78079"/>
                </a:cubicBezTo>
                <a:cubicBezTo>
                  <a:pt x="456725" y="78191"/>
                  <a:pt x="456390" y="78284"/>
                  <a:pt x="455963" y="78358"/>
                </a:cubicBezTo>
                <a:cubicBezTo>
                  <a:pt x="455535" y="78433"/>
                  <a:pt x="454986" y="78470"/>
                  <a:pt x="454316" y="78470"/>
                </a:cubicBezTo>
                <a:cubicBezTo>
                  <a:pt x="453684" y="78470"/>
                  <a:pt x="453153" y="78433"/>
                  <a:pt x="452726" y="78358"/>
                </a:cubicBezTo>
                <a:cubicBezTo>
                  <a:pt x="452298" y="78284"/>
                  <a:pt x="451953" y="78191"/>
                  <a:pt x="451693" y="78079"/>
                </a:cubicBezTo>
                <a:cubicBezTo>
                  <a:pt x="451433" y="77968"/>
                  <a:pt x="451256" y="77819"/>
                  <a:pt x="451163" y="77633"/>
                </a:cubicBezTo>
                <a:cubicBezTo>
                  <a:pt x="451070" y="77447"/>
                  <a:pt x="451023" y="77242"/>
                  <a:pt x="451023" y="77019"/>
                </a:cubicBezTo>
                <a:lnTo>
                  <a:pt x="451023" y="26510"/>
                </a:lnTo>
                <a:cubicBezTo>
                  <a:pt x="451023" y="26287"/>
                  <a:pt x="451070" y="26082"/>
                  <a:pt x="451163" y="25896"/>
                </a:cubicBezTo>
                <a:cubicBezTo>
                  <a:pt x="451256" y="25710"/>
                  <a:pt x="451433" y="25552"/>
                  <a:pt x="451693" y="25422"/>
                </a:cubicBezTo>
                <a:cubicBezTo>
                  <a:pt x="451953" y="25292"/>
                  <a:pt x="452298" y="25199"/>
                  <a:pt x="452726" y="25143"/>
                </a:cubicBezTo>
                <a:cubicBezTo>
                  <a:pt x="453153" y="25087"/>
                  <a:pt x="453684" y="25059"/>
                  <a:pt x="454316" y="25059"/>
                </a:cubicBezTo>
                <a:close/>
                <a:moveTo>
                  <a:pt x="216191" y="25059"/>
                </a:moveTo>
                <a:cubicBezTo>
                  <a:pt x="216861" y="25059"/>
                  <a:pt x="217410" y="25087"/>
                  <a:pt x="217838" y="25143"/>
                </a:cubicBezTo>
                <a:cubicBezTo>
                  <a:pt x="218265" y="25199"/>
                  <a:pt x="218600" y="25292"/>
                  <a:pt x="218842" y="25422"/>
                </a:cubicBezTo>
                <a:cubicBezTo>
                  <a:pt x="219084" y="25552"/>
                  <a:pt x="219261" y="25710"/>
                  <a:pt x="219372" y="25896"/>
                </a:cubicBezTo>
                <a:cubicBezTo>
                  <a:pt x="219484" y="26082"/>
                  <a:pt x="219540" y="26287"/>
                  <a:pt x="219540" y="26510"/>
                </a:cubicBezTo>
                <a:lnTo>
                  <a:pt x="219540" y="77019"/>
                </a:lnTo>
                <a:cubicBezTo>
                  <a:pt x="219540" y="77242"/>
                  <a:pt x="219484" y="77447"/>
                  <a:pt x="219372" y="77633"/>
                </a:cubicBezTo>
                <a:cubicBezTo>
                  <a:pt x="219261" y="77819"/>
                  <a:pt x="219084" y="77968"/>
                  <a:pt x="218842" y="78079"/>
                </a:cubicBezTo>
                <a:cubicBezTo>
                  <a:pt x="218600" y="78191"/>
                  <a:pt x="218265" y="78284"/>
                  <a:pt x="217838" y="78358"/>
                </a:cubicBezTo>
                <a:cubicBezTo>
                  <a:pt x="217410" y="78433"/>
                  <a:pt x="216861" y="78470"/>
                  <a:pt x="216191" y="78470"/>
                </a:cubicBezTo>
                <a:cubicBezTo>
                  <a:pt x="215559" y="78470"/>
                  <a:pt x="215029" y="78433"/>
                  <a:pt x="214601" y="78358"/>
                </a:cubicBezTo>
                <a:cubicBezTo>
                  <a:pt x="214173" y="78284"/>
                  <a:pt x="213829" y="78191"/>
                  <a:pt x="213568" y="78079"/>
                </a:cubicBezTo>
                <a:cubicBezTo>
                  <a:pt x="213308" y="77968"/>
                  <a:pt x="213131" y="77819"/>
                  <a:pt x="213038" y="77633"/>
                </a:cubicBezTo>
                <a:cubicBezTo>
                  <a:pt x="212945" y="77447"/>
                  <a:pt x="212898" y="77242"/>
                  <a:pt x="212898" y="77019"/>
                </a:cubicBezTo>
                <a:lnTo>
                  <a:pt x="212898" y="26510"/>
                </a:lnTo>
                <a:cubicBezTo>
                  <a:pt x="212898" y="26287"/>
                  <a:pt x="212945" y="26082"/>
                  <a:pt x="213038" y="25896"/>
                </a:cubicBezTo>
                <a:cubicBezTo>
                  <a:pt x="213131" y="25710"/>
                  <a:pt x="213308" y="25552"/>
                  <a:pt x="213568" y="25422"/>
                </a:cubicBezTo>
                <a:cubicBezTo>
                  <a:pt x="213829" y="25292"/>
                  <a:pt x="214173" y="25199"/>
                  <a:pt x="214601" y="25143"/>
                </a:cubicBezTo>
                <a:cubicBezTo>
                  <a:pt x="215029" y="25087"/>
                  <a:pt x="215559" y="25059"/>
                  <a:pt x="216191" y="25059"/>
                </a:cubicBezTo>
                <a:close/>
                <a:moveTo>
                  <a:pt x="496341" y="24445"/>
                </a:moveTo>
                <a:cubicBezTo>
                  <a:pt x="499802" y="24445"/>
                  <a:pt x="502723" y="24864"/>
                  <a:pt x="505104" y="25701"/>
                </a:cubicBezTo>
                <a:cubicBezTo>
                  <a:pt x="507485" y="26538"/>
                  <a:pt x="509411" y="27738"/>
                  <a:pt x="510880" y="29301"/>
                </a:cubicBezTo>
                <a:cubicBezTo>
                  <a:pt x="512350" y="30864"/>
                  <a:pt x="513401" y="32789"/>
                  <a:pt x="514033" y="35077"/>
                </a:cubicBezTo>
                <a:cubicBezTo>
                  <a:pt x="514666" y="37366"/>
                  <a:pt x="514982" y="39961"/>
                  <a:pt x="514982" y="42863"/>
                </a:cubicBezTo>
                <a:lnTo>
                  <a:pt x="514982" y="77019"/>
                </a:lnTo>
                <a:cubicBezTo>
                  <a:pt x="514982" y="77391"/>
                  <a:pt x="514861" y="77679"/>
                  <a:pt x="514619" y="77884"/>
                </a:cubicBezTo>
                <a:cubicBezTo>
                  <a:pt x="514378" y="78089"/>
                  <a:pt x="514061" y="78237"/>
                  <a:pt x="513671" y="78330"/>
                </a:cubicBezTo>
                <a:cubicBezTo>
                  <a:pt x="513280" y="78423"/>
                  <a:pt x="512750" y="78470"/>
                  <a:pt x="512080" y="78470"/>
                </a:cubicBezTo>
                <a:cubicBezTo>
                  <a:pt x="511448" y="78470"/>
                  <a:pt x="510908" y="78423"/>
                  <a:pt x="510462" y="78330"/>
                </a:cubicBezTo>
                <a:cubicBezTo>
                  <a:pt x="510015" y="78237"/>
                  <a:pt x="509671" y="78089"/>
                  <a:pt x="509429" y="77884"/>
                </a:cubicBezTo>
                <a:cubicBezTo>
                  <a:pt x="509187" y="77679"/>
                  <a:pt x="509066" y="77391"/>
                  <a:pt x="509066" y="77019"/>
                </a:cubicBezTo>
                <a:lnTo>
                  <a:pt x="509066" y="71382"/>
                </a:lnTo>
                <a:cubicBezTo>
                  <a:pt x="506797" y="73838"/>
                  <a:pt x="504295" y="75735"/>
                  <a:pt x="501560" y="77075"/>
                </a:cubicBezTo>
                <a:cubicBezTo>
                  <a:pt x="498825" y="78414"/>
                  <a:pt x="495988" y="79084"/>
                  <a:pt x="493049" y="79084"/>
                </a:cubicBezTo>
                <a:cubicBezTo>
                  <a:pt x="490407" y="79084"/>
                  <a:pt x="488035" y="78740"/>
                  <a:pt x="485933" y="78051"/>
                </a:cubicBezTo>
                <a:cubicBezTo>
                  <a:pt x="483831" y="77363"/>
                  <a:pt x="482054" y="76377"/>
                  <a:pt x="480603" y="75093"/>
                </a:cubicBezTo>
                <a:cubicBezTo>
                  <a:pt x="479152" y="73810"/>
                  <a:pt x="478036" y="72256"/>
                  <a:pt x="477254" y="70433"/>
                </a:cubicBezTo>
                <a:cubicBezTo>
                  <a:pt x="476473" y="68610"/>
                  <a:pt x="476082" y="66564"/>
                  <a:pt x="476082" y="64294"/>
                </a:cubicBezTo>
                <a:cubicBezTo>
                  <a:pt x="476082" y="61504"/>
                  <a:pt x="476659" y="59076"/>
                  <a:pt x="477812" y="57011"/>
                </a:cubicBezTo>
                <a:cubicBezTo>
                  <a:pt x="478966" y="54946"/>
                  <a:pt x="480603" y="53225"/>
                  <a:pt x="482724" y="51848"/>
                </a:cubicBezTo>
                <a:cubicBezTo>
                  <a:pt x="484845" y="50472"/>
                  <a:pt x="487393" y="49439"/>
                  <a:pt x="490370" y="48751"/>
                </a:cubicBezTo>
                <a:cubicBezTo>
                  <a:pt x="493346" y="48063"/>
                  <a:pt x="496658" y="47718"/>
                  <a:pt x="500304" y="47718"/>
                </a:cubicBezTo>
                <a:lnTo>
                  <a:pt x="508341" y="47718"/>
                </a:lnTo>
                <a:lnTo>
                  <a:pt x="508341" y="43365"/>
                </a:lnTo>
                <a:cubicBezTo>
                  <a:pt x="508341" y="41207"/>
                  <a:pt x="508118" y="39300"/>
                  <a:pt x="507671" y="37645"/>
                </a:cubicBezTo>
                <a:cubicBezTo>
                  <a:pt x="507225" y="35989"/>
                  <a:pt x="506499" y="34603"/>
                  <a:pt x="505494" y="33487"/>
                </a:cubicBezTo>
                <a:cubicBezTo>
                  <a:pt x="504490" y="32370"/>
                  <a:pt x="503188" y="31533"/>
                  <a:pt x="501588" y="30975"/>
                </a:cubicBezTo>
                <a:cubicBezTo>
                  <a:pt x="499988" y="30417"/>
                  <a:pt x="498034" y="30138"/>
                  <a:pt x="495728" y="30138"/>
                </a:cubicBezTo>
                <a:cubicBezTo>
                  <a:pt x="493495" y="30138"/>
                  <a:pt x="491486" y="30408"/>
                  <a:pt x="489700" y="30947"/>
                </a:cubicBezTo>
                <a:cubicBezTo>
                  <a:pt x="487914" y="31487"/>
                  <a:pt x="486351" y="32091"/>
                  <a:pt x="485012" y="32761"/>
                </a:cubicBezTo>
                <a:cubicBezTo>
                  <a:pt x="483673" y="33431"/>
                  <a:pt x="482566" y="34035"/>
                  <a:pt x="481691" y="34575"/>
                </a:cubicBezTo>
                <a:cubicBezTo>
                  <a:pt x="480817" y="35115"/>
                  <a:pt x="480194" y="35384"/>
                  <a:pt x="479822" y="35384"/>
                </a:cubicBezTo>
                <a:cubicBezTo>
                  <a:pt x="479598" y="35384"/>
                  <a:pt x="479394" y="35347"/>
                  <a:pt x="479208" y="35273"/>
                </a:cubicBezTo>
                <a:cubicBezTo>
                  <a:pt x="479022" y="35198"/>
                  <a:pt x="478863" y="35059"/>
                  <a:pt x="478733" y="34854"/>
                </a:cubicBezTo>
                <a:cubicBezTo>
                  <a:pt x="478603" y="34649"/>
                  <a:pt x="478510" y="34389"/>
                  <a:pt x="478454" y="34073"/>
                </a:cubicBezTo>
                <a:cubicBezTo>
                  <a:pt x="478398" y="33756"/>
                  <a:pt x="478371" y="33375"/>
                  <a:pt x="478371" y="32929"/>
                </a:cubicBezTo>
                <a:cubicBezTo>
                  <a:pt x="478371" y="32147"/>
                  <a:pt x="478426" y="31524"/>
                  <a:pt x="478538" y="31059"/>
                </a:cubicBezTo>
                <a:cubicBezTo>
                  <a:pt x="478650" y="30594"/>
                  <a:pt x="478938" y="30129"/>
                  <a:pt x="479403" y="29664"/>
                </a:cubicBezTo>
                <a:cubicBezTo>
                  <a:pt x="479868" y="29199"/>
                  <a:pt x="480696" y="28650"/>
                  <a:pt x="481887" y="28017"/>
                </a:cubicBezTo>
                <a:cubicBezTo>
                  <a:pt x="483077" y="27385"/>
                  <a:pt x="484445" y="26799"/>
                  <a:pt x="485989" y="26259"/>
                </a:cubicBezTo>
                <a:cubicBezTo>
                  <a:pt x="487533" y="25720"/>
                  <a:pt x="489198" y="25283"/>
                  <a:pt x="490984" y="24948"/>
                </a:cubicBezTo>
                <a:cubicBezTo>
                  <a:pt x="492770" y="24613"/>
                  <a:pt x="494556" y="24445"/>
                  <a:pt x="496341" y="24445"/>
                </a:cubicBezTo>
                <a:close/>
                <a:moveTo>
                  <a:pt x="378935" y="24445"/>
                </a:moveTo>
                <a:cubicBezTo>
                  <a:pt x="382246" y="24445"/>
                  <a:pt x="385037" y="25003"/>
                  <a:pt x="387306" y="26120"/>
                </a:cubicBezTo>
                <a:cubicBezTo>
                  <a:pt x="389576" y="27236"/>
                  <a:pt x="391408" y="28743"/>
                  <a:pt x="392804" y="30640"/>
                </a:cubicBezTo>
                <a:cubicBezTo>
                  <a:pt x="394199" y="32538"/>
                  <a:pt x="395203" y="34752"/>
                  <a:pt x="395817" y="37282"/>
                </a:cubicBezTo>
                <a:cubicBezTo>
                  <a:pt x="396431" y="39812"/>
                  <a:pt x="396738" y="42863"/>
                  <a:pt x="396738" y="46435"/>
                </a:cubicBezTo>
                <a:lnTo>
                  <a:pt x="396738" y="77019"/>
                </a:lnTo>
                <a:cubicBezTo>
                  <a:pt x="396738" y="77242"/>
                  <a:pt x="396682" y="77447"/>
                  <a:pt x="396571" y="77633"/>
                </a:cubicBezTo>
                <a:cubicBezTo>
                  <a:pt x="396459" y="77819"/>
                  <a:pt x="396283" y="77968"/>
                  <a:pt x="396041" y="78079"/>
                </a:cubicBezTo>
                <a:cubicBezTo>
                  <a:pt x="395799" y="78191"/>
                  <a:pt x="395464" y="78284"/>
                  <a:pt x="395036" y="78358"/>
                </a:cubicBezTo>
                <a:cubicBezTo>
                  <a:pt x="394608" y="78433"/>
                  <a:pt x="394078" y="78470"/>
                  <a:pt x="393445" y="78470"/>
                </a:cubicBezTo>
                <a:cubicBezTo>
                  <a:pt x="392776" y="78470"/>
                  <a:pt x="392227" y="78433"/>
                  <a:pt x="391799" y="78358"/>
                </a:cubicBezTo>
                <a:cubicBezTo>
                  <a:pt x="391371" y="78284"/>
                  <a:pt x="391036" y="78191"/>
                  <a:pt x="390794" y="78079"/>
                </a:cubicBezTo>
                <a:cubicBezTo>
                  <a:pt x="390553" y="77968"/>
                  <a:pt x="390376" y="77819"/>
                  <a:pt x="390264" y="77633"/>
                </a:cubicBezTo>
                <a:cubicBezTo>
                  <a:pt x="390153" y="77447"/>
                  <a:pt x="390097" y="77242"/>
                  <a:pt x="390097" y="77019"/>
                </a:cubicBezTo>
                <a:lnTo>
                  <a:pt x="390097" y="47049"/>
                </a:lnTo>
                <a:cubicBezTo>
                  <a:pt x="390097" y="43923"/>
                  <a:pt x="389855" y="41384"/>
                  <a:pt x="389371" y="39431"/>
                </a:cubicBezTo>
                <a:cubicBezTo>
                  <a:pt x="388888" y="37477"/>
                  <a:pt x="388162" y="35803"/>
                  <a:pt x="387195" y="34408"/>
                </a:cubicBezTo>
                <a:cubicBezTo>
                  <a:pt x="386227" y="33012"/>
                  <a:pt x="384990" y="31933"/>
                  <a:pt x="383483" y="31171"/>
                </a:cubicBezTo>
                <a:cubicBezTo>
                  <a:pt x="381976" y="30408"/>
                  <a:pt x="380218" y="30026"/>
                  <a:pt x="378209" y="30026"/>
                </a:cubicBezTo>
                <a:cubicBezTo>
                  <a:pt x="375642" y="30026"/>
                  <a:pt x="373075" y="30938"/>
                  <a:pt x="370507" y="32761"/>
                </a:cubicBezTo>
                <a:cubicBezTo>
                  <a:pt x="367940" y="34584"/>
                  <a:pt x="365243" y="37263"/>
                  <a:pt x="362415" y="40798"/>
                </a:cubicBezTo>
                <a:lnTo>
                  <a:pt x="362415" y="77019"/>
                </a:lnTo>
                <a:cubicBezTo>
                  <a:pt x="362415" y="77242"/>
                  <a:pt x="362359" y="77447"/>
                  <a:pt x="362247" y="77633"/>
                </a:cubicBezTo>
                <a:cubicBezTo>
                  <a:pt x="362136" y="77819"/>
                  <a:pt x="361959" y="77968"/>
                  <a:pt x="361717" y="78079"/>
                </a:cubicBezTo>
                <a:cubicBezTo>
                  <a:pt x="361475" y="78191"/>
                  <a:pt x="361140" y="78284"/>
                  <a:pt x="360713" y="78358"/>
                </a:cubicBezTo>
                <a:cubicBezTo>
                  <a:pt x="360285" y="78433"/>
                  <a:pt x="359736" y="78470"/>
                  <a:pt x="359066" y="78470"/>
                </a:cubicBezTo>
                <a:cubicBezTo>
                  <a:pt x="358434" y="78470"/>
                  <a:pt x="357903" y="78433"/>
                  <a:pt x="357476" y="78358"/>
                </a:cubicBezTo>
                <a:cubicBezTo>
                  <a:pt x="357048" y="78284"/>
                  <a:pt x="356704" y="78191"/>
                  <a:pt x="356443" y="78079"/>
                </a:cubicBezTo>
                <a:cubicBezTo>
                  <a:pt x="356183" y="77968"/>
                  <a:pt x="356006" y="77819"/>
                  <a:pt x="355913" y="77633"/>
                </a:cubicBezTo>
                <a:cubicBezTo>
                  <a:pt x="355820" y="77447"/>
                  <a:pt x="355773" y="77242"/>
                  <a:pt x="355773" y="77019"/>
                </a:cubicBezTo>
                <a:lnTo>
                  <a:pt x="355773" y="26510"/>
                </a:lnTo>
                <a:cubicBezTo>
                  <a:pt x="355773" y="26287"/>
                  <a:pt x="355820" y="26082"/>
                  <a:pt x="355913" y="25896"/>
                </a:cubicBezTo>
                <a:cubicBezTo>
                  <a:pt x="356006" y="25710"/>
                  <a:pt x="356183" y="25552"/>
                  <a:pt x="356443" y="25422"/>
                </a:cubicBezTo>
                <a:cubicBezTo>
                  <a:pt x="356704" y="25292"/>
                  <a:pt x="357029" y="25199"/>
                  <a:pt x="357420" y="25143"/>
                </a:cubicBezTo>
                <a:cubicBezTo>
                  <a:pt x="357810" y="25087"/>
                  <a:pt x="358322" y="25059"/>
                  <a:pt x="358955" y="25059"/>
                </a:cubicBezTo>
                <a:cubicBezTo>
                  <a:pt x="359587" y="25059"/>
                  <a:pt x="360108" y="25087"/>
                  <a:pt x="360517" y="25143"/>
                </a:cubicBezTo>
                <a:cubicBezTo>
                  <a:pt x="360927" y="25199"/>
                  <a:pt x="361243" y="25292"/>
                  <a:pt x="361466" y="25422"/>
                </a:cubicBezTo>
                <a:cubicBezTo>
                  <a:pt x="361689" y="25552"/>
                  <a:pt x="361847" y="25710"/>
                  <a:pt x="361940" y="25896"/>
                </a:cubicBezTo>
                <a:cubicBezTo>
                  <a:pt x="362033" y="26082"/>
                  <a:pt x="362080" y="26287"/>
                  <a:pt x="362080" y="26510"/>
                </a:cubicBezTo>
                <a:lnTo>
                  <a:pt x="362080" y="33654"/>
                </a:lnTo>
                <a:cubicBezTo>
                  <a:pt x="364982" y="30417"/>
                  <a:pt x="367828" y="28073"/>
                  <a:pt x="370619" y="26622"/>
                </a:cubicBezTo>
                <a:cubicBezTo>
                  <a:pt x="373409" y="25171"/>
                  <a:pt x="376181" y="24445"/>
                  <a:pt x="378935" y="24445"/>
                </a:cubicBezTo>
                <a:close/>
                <a:moveTo>
                  <a:pt x="318492" y="24445"/>
                </a:moveTo>
                <a:cubicBezTo>
                  <a:pt x="322287" y="24445"/>
                  <a:pt x="325524" y="25078"/>
                  <a:pt x="328203" y="26343"/>
                </a:cubicBezTo>
                <a:cubicBezTo>
                  <a:pt x="330882" y="27608"/>
                  <a:pt x="333086" y="29310"/>
                  <a:pt x="334817" y="31450"/>
                </a:cubicBezTo>
                <a:cubicBezTo>
                  <a:pt x="336547" y="33589"/>
                  <a:pt x="337812" y="36073"/>
                  <a:pt x="338612" y="38900"/>
                </a:cubicBezTo>
                <a:cubicBezTo>
                  <a:pt x="339412" y="41728"/>
                  <a:pt x="339812" y="44705"/>
                  <a:pt x="339812" y="47830"/>
                </a:cubicBezTo>
                <a:lnTo>
                  <a:pt x="339812" y="49169"/>
                </a:lnTo>
                <a:cubicBezTo>
                  <a:pt x="339812" y="50509"/>
                  <a:pt x="339458" y="51430"/>
                  <a:pt x="338751" y="51932"/>
                </a:cubicBezTo>
                <a:cubicBezTo>
                  <a:pt x="338044" y="52434"/>
                  <a:pt x="337356" y="52686"/>
                  <a:pt x="336686" y="52686"/>
                </a:cubicBezTo>
                <a:lnTo>
                  <a:pt x="302251" y="52686"/>
                </a:lnTo>
                <a:cubicBezTo>
                  <a:pt x="302251" y="55811"/>
                  <a:pt x="302558" y="58639"/>
                  <a:pt x="303172" y="61169"/>
                </a:cubicBezTo>
                <a:cubicBezTo>
                  <a:pt x="303786" y="63699"/>
                  <a:pt x="304800" y="65866"/>
                  <a:pt x="306214" y="67671"/>
                </a:cubicBezTo>
                <a:cubicBezTo>
                  <a:pt x="307627" y="69475"/>
                  <a:pt x="309469" y="70861"/>
                  <a:pt x="311739" y="71829"/>
                </a:cubicBezTo>
                <a:cubicBezTo>
                  <a:pt x="314008" y="72796"/>
                  <a:pt x="316799" y="73280"/>
                  <a:pt x="320110" y="73280"/>
                </a:cubicBezTo>
                <a:cubicBezTo>
                  <a:pt x="322454" y="73280"/>
                  <a:pt x="324557" y="73075"/>
                  <a:pt x="326417" y="72666"/>
                </a:cubicBezTo>
                <a:cubicBezTo>
                  <a:pt x="328277" y="72256"/>
                  <a:pt x="329887" y="71801"/>
                  <a:pt x="331245" y="71298"/>
                </a:cubicBezTo>
                <a:cubicBezTo>
                  <a:pt x="332603" y="70796"/>
                  <a:pt x="333719" y="70340"/>
                  <a:pt x="334593" y="69931"/>
                </a:cubicBezTo>
                <a:cubicBezTo>
                  <a:pt x="335468" y="69522"/>
                  <a:pt x="336091" y="69317"/>
                  <a:pt x="336463" y="69317"/>
                </a:cubicBezTo>
                <a:cubicBezTo>
                  <a:pt x="336686" y="69317"/>
                  <a:pt x="336891" y="69373"/>
                  <a:pt x="337077" y="69484"/>
                </a:cubicBezTo>
                <a:cubicBezTo>
                  <a:pt x="337263" y="69596"/>
                  <a:pt x="337412" y="69773"/>
                  <a:pt x="337523" y="70015"/>
                </a:cubicBezTo>
                <a:cubicBezTo>
                  <a:pt x="337635" y="70257"/>
                  <a:pt x="337719" y="70564"/>
                  <a:pt x="337774" y="70936"/>
                </a:cubicBezTo>
                <a:cubicBezTo>
                  <a:pt x="337830" y="71308"/>
                  <a:pt x="337858" y="71773"/>
                  <a:pt x="337858" y="72331"/>
                </a:cubicBezTo>
                <a:cubicBezTo>
                  <a:pt x="337858" y="72591"/>
                  <a:pt x="337840" y="72842"/>
                  <a:pt x="337802" y="73084"/>
                </a:cubicBezTo>
                <a:cubicBezTo>
                  <a:pt x="337765" y="73326"/>
                  <a:pt x="337719" y="73549"/>
                  <a:pt x="337663" y="73754"/>
                </a:cubicBezTo>
                <a:cubicBezTo>
                  <a:pt x="337607" y="73959"/>
                  <a:pt x="337523" y="74154"/>
                  <a:pt x="337412" y="74340"/>
                </a:cubicBezTo>
                <a:cubicBezTo>
                  <a:pt x="337300" y="74526"/>
                  <a:pt x="337151" y="74712"/>
                  <a:pt x="336965" y="74898"/>
                </a:cubicBezTo>
                <a:cubicBezTo>
                  <a:pt x="336779" y="75084"/>
                  <a:pt x="336202" y="75410"/>
                  <a:pt x="335235" y="75875"/>
                </a:cubicBezTo>
                <a:cubicBezTo>
                  <a:pt x="334268" y="76340"/>
                  <a:pt x="333003" y="76805"/>
                  <a:pt x="331440" y="77270"/>
                </a:cubicBezTo>
                <a:cubicBezTo>
                  <a:pt x="329877" y="77735"/>
                  <a:pt x="328063" y="78154"/>
                  <a:pt x="325998" y="78526"/>
                </a:cubicBezTo>
                <a:cubicBezTo>
                  <a:pt x="323933" y="78898"/>
                  <a:pt x="321710" y="79084"/>
                  <a:pt x="319329" y="79084"/>
                </a:cubicBezTo>
                <a:cubicBezTo>
                  <a:pt x="315422" y="79084"/>
                  <a:pt x="311962" y="78498"/>
                  <a:pt x="308948" y="77326"/>
                </a:cubicBezTo>
                <a:cubicBezTo>
                  <a:pt x="305935" y="76154"/>
                  <a:pt x="303404" y="74424"/>
                  <a:pt x="301358" y="72136"/>
                </a:cubicBezTo>
                <a:cubicBezTo>
                  <a:pt x="299312" y="69847"/>
                  <a:pt x="297758" y="67010"/>
                  <a:pt x="296698" y="63624"/>
                </a:cubicBezTo>
                <a:cubicBezTo>
                  <a:pt x="295637" y="60239"/>
                  <a:pt x="295107" y="56313"/>
                  <a:pt x="295107" y="51848"/>
                </a:cubicBezTo>
                <a:cubicBezTo>
                  <a:pt x="295107" y="47570"/>
                  <a:pt x="295656" y="43737"/>
                  <a:pt x="296754" y="40351"/>
                </a:cubicBezTo>
                <a:cubicBezTo>
                  <a:pt x="297851" y="36966"/>
                  <a:pt x="299423" y="34091"/>
                  <a:pt x="301470" y="31729"/>
                </a:cubicBezTo>
                <a:cubicBezTo>
                  <a:pt x="303516" y="29366"/>
                  <a:pt x="305981" y="27561"/>
                  <a:pt x="308865" y="26315"/>
                </a:cubicBezTo>
                <a:cubicBezTo>
                  <a:pt x="311748" y="25069"/>
                  <a:pt x="314957" y="24445"/>
                  <a:pt x="318492" y="24445"/>
                </a:cubicBezTo>
                <a:close/>
                <a:moveTo>
                  <a:pt x="140810" y="24445"/>
                </a:moveTo>
                <a:cubicBezTo>
                  <a:pt x="144121" y="24445"/>
                  <a:pt x="146912" y="25003"/>
                  <a:pt x="149181" y="26120"/>
                </a:cubicBezTo>
                <a:cubicBezTo>
                  <a:pt x="151451" y="27236"/>
                  <a:pt x="153283" y="28743"/>
                  <a:pt x="154679" y="30640"/>
                </a:cubicBezTo>
                <a:cubicBezTo>
                  <a:pt x="156074" y="32538"/>
                  <a:pt x="157079" y="34752"/>
                  <a:pt x="157692" y="37282"/>
                </a:cubicBezTo>
                <a:cubicBezTo>
                  <a:pt x="158306" y="39812"/>
                  <a:pt x="158613" y="42863"/>
                  <a:pt x="158613" y="46435"/>
                </a:cubicBezTo>
                <a:lnTo>
                  <a:pt x="158613" y="77019"/>
                </a:lnTo>
                <a:cubicBezTo>
                  <a:pt x="158613" y="77242"/>
                  <a:pt x="158557" y="77447"/>
                  <a:pt x="158446" y="77633"/>
                </a:cubicBezTo>
                <a:cubicBezTo>
                  <a:pt x="158334" y="77819"/>
                  <a:pt x="158158" y="77968"/>
                  <a:pt x="157916" y="78079"/>
                </a:cubicBezTo>
                <a:cubicBezTo>
                  <a:pt x="157674" y="78191"/>
                  <a:pt x="157339" y="78284"/>
                  <a:pt x="156911" y="78358"/>
                </a:cubicBezTo>
                <a:cubicBezTo>
                  <a:pt x="156483" y="78433"/>
                  <a:pt x="155953" y="78470"/>
                  <a:pt x="155320" y="78470"/>
                </a:cubicBezTo>
                <a:cubicBezTo>
                  <a:pt x="154651" y="78470"/>
                  <a:pt x="154102" y="78433"/>
                  <a:pt x="153674" y="78358"/>
                </a:cubicBezTo>
                <a:cubicBezTo>
                  <a:pt x="153246" y="78284"/>
                  <a:pt x="152911" y="78191"/>
                  <a:pt x="152669" y="78079"/>
                </a:cubicBezTo>
                <a:cubicBezTo>
                  <a:pt x="152428" y="77968"/>
                  <a:pt x="152251" y="77819"/>
                  <a:pt x="152139" y="77633"/>
                </a:cubicBezTo>
                <a:cubicBezTo>
                  <a:pt x="152028" y="77447"/>
                  <a:pt x="151972" y="77242"/>
                  <a:pt x="151972" y="77019"/>
                </a:cubicBezTo>
                <a:lnTo>
                  <a:pt x="151972" y="47049"/>
                </a:lnTo>
                <a:cubicBezTo>
                  <a:pt x="151972" y="43923"/>
                  <a:pt x="151730" y="41384"/>
                  <a:pt x="151246" y="39431"/>
                </a:cubicBezTo>
                <a:cubicBezTo>
                  <a:pt x="150763" y="37477"/>
                  <a:pt x="150037" y="35803"/>
                  <a:pt x="149070" y="34408"/>
                </a:cubicBezTo>
                <a:cubicBezTo>
                  <a:pt x="148102" y="33012"/>
                  <a:pt x="146865" y="31933"/>
                  <a:pt x="145358" y="31171"/>
                </a:cubicBezTo>
                <a:cubicBezTo>
                  <a:pt x="143851" y="30408"/>
                  <a:pt x="142093" y="30026"/>
                  <a:pt x="140084" y="30026"/>
                </a:cubicBezTo>
                <a:cubicBezTo>
                  <a:pt x="137517" y="30026"/>
                  <a:pt x="134950" y="30938"/>
                  <a:pt x="132382" y="32761"/>
                </a:cubicBezTo>
                <a:cubicBezTo>
                  <a:pt x="129815" y="34584"/>
                  <a:pt x="127118" y="37263"/>
                  <a:pt x="124290" y="40798"/>
                </a:cubicBezTo>
                <a:lnTo>
                  <a:pt x="124290" y="77019"/>
                </a:lnTo>
                <a:cubicBezTo>
                  <a:pt x="124290" y="77242"/>
                  <a:pt x="124234" y="77447"/>
                  <a:pt x="124122" y="77633"/>
                </a:cubicBezTo>
                <a:cubicBezTo>
                  <a:pt x="124011" y="77819"/>
                  <a:pt x="123834" y="77968"/>
                  <a:pt x="123592" y="78079"/>
                </a:cubicBezTo>
                <a:cubicBezTo>
                  <a:pt x="123350" y="78191"/>
                  <a:pt x="123015" y="78284"/>
                  <a:pt x="122588" y="78358"/>
                </a:cubicBezTo>
                <a:cubicBezTo>
                  <a:pt x="122160" y="78433"/>
                  <a:pt x="121611" y="78470"/>
                  <a:pt x="120941" y="78470"/>
                </a:cubicBezTo>
                <a:cubicBezTo>
                  <a:pt x="120309" y="78470"/>
                  <a:pt x="119778" y="78433"/>
                  <a:pt x="119351" y="78358"/>
                </a:cubicBezTo>
                <a:cubicBezTo>
                  <a:pt x="118923" y="78284"/>
                  <a:pt x="118579" y="78191"/>
                  <a:pt x="118318" y="78079"/>
                </a:cubicBezTo>
                <a:cubicBezTo>
                  <a:pt x="118058" y="77968"/>
                  <a:pt x="117881" y="77819"/>
                  <a:pt x="117788" y="77633"/>
                </a:cubicBezTo>
                <a:cubicBezTo>
                  <a:pt x="117695" y="77447"/>
                  <a:pt x="117648" y="77242"/>
                  <a:pt x="117648" y="77019"/>
                </a:cubicBezTo>
                <a:lnTo>
                  <a:pt x="117648" y="26510"/>
                </a:lnTo>
                <a:cubicBezTo>
                  <a:pt x="117648" y="26287"/>
                  <a:pt x="117695" y="26082"/>
                  <a:pt x="117788" y="25896"/>
                </a:cubicBezTo>
                <a:cubicBezTo>
                  <a:pt x="117881" y="25710"/>
                  <a:pt x="118058" y="25552"/>
                  <a:pt x="118318" y="25422"/>
                </a:cubicBezTo>
                <a:cubicBezTo>
                  <a:pt x="118579" y="25292"/>
                  <a:pt x="118904" y="25199"/>
                  <a:pt x="119295" y="25143"/>
                </a:cubicBezTo>
                <a:cubicBezTo>
                  <a:pt x="119685" y="25087"/>
                  <a:pt x="120197" y="25059"/>
                  <a:pt x="120830" y="25059"/>
                </a:cubicBezTo>
                <a:cubicBezTo>
                  <a:pt x="121462" y="25059"/>
                  <a:pt x="121983" y="25087"/>
                  <a:pt x="122392" y="25143"/>
                </a:cubicBezTo>
                <a:cubicBezTo>
                  <a:pt x="122802" y="25199"/>
                  <a:pt x="123118" y="25292"/>
                  <a:pt x="123341" y="25422"/>
                </a:cubicBezTo>
                <a:cubicBezTo>
                  <a:pt x="123564" y="25552"/>
                  <a:pt x="123722" y="25710"/>
                  <a:pt x="123815" y="25896"/>
                </a:cubicBezTo>
                <a:cubicBezTo>
                  <a:pt x="123908" y="26082"/>
                  <a:pt x="123955" y="26287"/>
                  <a:pt x="123955" y="26510"/>
                </a:cubicBezTo>
                <a:lnTo>
                  <a:pt x="123955" y="33654"/>
                </a:lnTo>
                <a:cubicBezTo>
                  <a:pt x="126857" y="30417"/>
                  <a:pt x="129703" y="28073"/>
                  <a:pt x="132494" y="26622"/>
                </a:cubicBezTo>
                <a:cubicBezTo>
                  <a:pt x="135285" y="25171"/>
                  <a:pt x="138056" y="24445"/>
                  <a:pt x="140810" y="24445"/>
                </a:cubicBezTo>
                <a:close/>
                <a:moveTo>
                  <a:pt x="81483" y="24445"/>
                </a:moveTo>
                <a:cubicBezTo>
                  <a:pt x="85427" y="24445"/>
                  <a:pt x="88878" y="25059"/>
                  <a:pt x="91836" y="26287"/>
                </a:cubicBezTo>
                <a:cubicBezTo>
                  <a:pt x="94794" y="27515"/>
                  <a:pt x="97259" y="29292"/>
                  <a:pt x="99231" y="31617"/>
                </a:cubicBezTo>
                <a:cubicBezTo>
                  <a:pt x="101203" y="33942"/>
                  <a:pt x="102691" y="36761"/>
                  <a:pt x="103696" y="40072"/>
                </a:cubicBezTo>
                <a:cubicBezTo>
                  <a:pt x="104700" y="43384"/>
                  <a:pt x="105203" y="47104"/>
                  <a:pt x="105203" y="51234"/>
                </a:cubicBezTo>
                <a:cubicBezTo>
                  <a:pt x="105203" y="55253"/>
                  <a:pt x="104682" y="58955"/>
                  <a:pt x="103640" y="62341"/>
                </a:cubicBezTo>
                <a:cubicBezTo>
                  <a:pt x="102598" y="65727"/>
                  <a:pt x="101045" y="68666"/>
                  <a:pt x="98980" y="71159"/>
                </a:cubicBezTo>
                <a:cubicBezTo>
                  <a:pt x="96915" y="73652"/>
                  <a:pt x="94338" y="75596"/>
                  <a:pt x="91250" y="76991"/>
                </a:cubicBezTo>
                <a:cubicBezTo>
                  <a:pt x="88162" y="78386"/>
                  <a:pt x="84571" y="79084"/>
                  <a:pt x="80479" y="79084"/>
                </a:cubicBezTo>
                <a:cubicBezTo>
                  <a:pt x="76535" y="79084"/>
                  <a:pt x="73084" y="78461"/>
                  <a:pt x="70126" y="77214"/>
                </a:cubicBezTo>
                <a:cubicBezTo>
                  <a:pt x="67168" y="75968"/>
                  <a:pt x="64693" y="74182"/>
                  <a:pt x="62703" y="71856"/>
                </a:cubicBezTo>
                <a:cubicBezTo>
                  <a:pt x="60712" y="69531"/>
                  <a:pt x="59224" y="66713"/>
                  <a:pt x="58238" y="63401"/>
                </a:cubicBezTo>
                <a:cubicBezTo>
                  <a:pt x="57252" y="60090"/>
                  <a:pt x="56759" y="56350"/>
                  <a:pt x="56759" y="52183"/>
                </a:cubicBezTo>
                <a:cubicBezTo>
                  <a:pt x="56759" y="48165"/>
                  <a:pt x="57271" y="44463"/>
                  <a:pt x="58294" y="41077"/>
                </a:cubicBezTo>
                <a:cubicBezTo>
                  <a:pt x="59317" y="37691"/>
                  <a:pt x="60861" y="34761"/>
                  <a:pt x="62926" y="32287"/>
                </a:cubicBezTo>
                <a:cubicBezTo>
                  <a:pt x="64991" y="29812"/>
                  <a:pt x="67568" y="27887"/>
                  <a:pt x="70656" y="26510"/>
                </a:cubicBezTo>
                <a:cubicBezTo>
                  <a:pt x="73744" y="25134"/>
                  <a:pt x="77353" y="24445"/>
                  <a:pt x="81483" y="24445"/>
                </a:cubicBezTo>
                <a:close/>
                <a:moveTo>
                  <a:pt x="418281" y="11497"/>
                </a:moveTo>
                <a:cubicBezTo>
                  <a:pt x="418951" y="11497"/>
                  <a:pt x="419500" y="11525"/>
                  <a:pt x="419928" y="11581"/>
                </a:cubicBezTo>
                <a:cubicBezTo>
                  <a:pt x="420355" y="11637"/>
                  <a:pt x="420690" y="11730"/>
                  <a:pt x="420932" y="11860"/>
                </a:cubicBezTo>
                <a:cubicBezTo>
                  <a:pt x="421174" y="11990"/>
                  <a:pt x="421351" y="12148"/>
                  <a:pt x="421462" y="12334"/>
                </a:cubicBezTo>
                <a:cubicBezTo>
                  <a:pt x="421574" y="12521"/>
                  <a:pt x="421630" y="12725"/>
                  <a:pt x="421630" y="12948"/>
                </a:cubicBezTo>
                <a:lnTo>
                  <a:pt x="421630" y="25338"/>
                </a:lnTo>
                <a:lnTo>
                  <a:pt x="435582" y="25338"/>
                </a:lnTo>
                <a:cubicBezTo>
                  <a:pt x="435843" y="25338"/>
                  <a:pt x="436075" y="25394"/>
                  <a:pt x="436280" y="25506"/>
                </a:cubicBezTo>
                <a:cubicBezTo>
                  <a:pt x="436485" y="25617"/>
                  <a:pt x="436661" y="25794"/>
                  <a:pt x="436810" y="26036"/>
                </a:cubicBezTo>
                <a:cubicBezTo>
                  <a:pt x="436959" y="26278"/>
                  <a:pt x="437071" y="26575"/>
                  <a:pt x="437145" y="26929"/>
                </a:cubicBezTo>
                <a:cubicBezTo>
                  <a:pt x="437220" y="27282"/>
                  <a:pt x="437257" y="27701"/>
                  <a:pt x="437257" y="28185"/>
                </a:cubicBezTo>
                <a:cubicBezTo>
                  <a:pt x="437257" y="29115"/>
                  <a:pt x="437099" y="29812"/>
                  <a:pt x="436782" y="30278"/>
                </a:cubicBezTo>
                <a:cubicBezTo>
                  <a:pt x="436466" y="30743"/>
                  <a:pt x="436066" y="30975"/>
                  <a:pt x="435582" y="30975"/>
                </a:cubicBezTo>
                <a:lnTo>
                  <a:pt x="421630" y="30975"/>
                </a:lnTo>
                <a:lnTo>
                  <a:pt x="421630" y="61504"/>
                </a:lnTo>
                <a:cubicBezTo>
                  <a:pt x="421630" y="65336"/>
                  <a:pt x="422179" y="68257"/>
                  <a:pt x="423276" y="70266"/>
                </a:cubicBezTo>
                <a:cubicBezTo>
                  <a:pt x="424374" y="72275"/>
                  <a:pt x="426374" y="73280"/>
                  <a:pt x="429276" y="73280"/>
                </a:cubicBezTo>
                <a:cubicBezTo>
                  <a:pt x="430169" y="73280"/>
                  <a:pt x="430978" y="73187"/>
                  <a:pt x="431704" y="73001"/>
                </a:cubicBezTo>
                <a:cubicBezTo>
                  <a:pt x="432429" y="72815"/>
                  <a:pt x="433071" y="72610"/>
                  <a:pt x="433629" y="72387"/>
                </a:cubicBezTo>
                <a:cubicBezTo>
                  <a:pt x="434187" y="72163"/>
                  <a:pt x="434662" y="71959"/>
                  <a:pt x="435052" y="71773"/>
                </a:cubicBezTo>
                <a:cubicBezTo>
                  <a:pt x="435443" y="71587"/>
                  <a:pt x="435787" y="71494"/>
                  <a:pt x="436085" y="71494"/>
                </a:cubicBezTo>
                <a:cubicBezTo>
                  <a:pt x="436271" y="71494"/>
                  <a:pt x="436438" y="71531"/>
                  <a:pt x="436587" y="71605"/>
                </a:cubicBezTo>
                <a:cubicBezTo>
                  <a:pt x="436736" y="71680"/>
                  <a:pt x="436857" y="71819"/>
                  <a:pt x="436950" y="72024"/>
                </a:cubicBezTo>
                <a:cubicBezTo>
                  <a:pt x="437043" y="72229"/>
                  <a:pt x="437117" y="72489"/>
                  <a:pt x="437173" y="72805"/>
                </a:cubicBezTo>
                <a:cubicBezTo>
                  <a:pt x="437229" y="73121"/>
                  <a:pt x="437257" y="73521"/>
                  <a:pt x="437257" y="74005"/>
                </a:cubicBezTo>
                <a:cubicBezTo>
                  <a:pt x="437257" y="74787"/>
                  <a:pt x="437192" y="75419"/>
                  <a:pt x="437061" y="75903"/>
                </a:cubicBezTo>
                <a:cubicBezTo>
                  <a:pt x="436931" y="76386"/>
                  <a:pt x="436727" y="76768"/>
                  <a:pt x="436447" y="77047"/>
                </a:cubicBezTo>
                <a:cubicBezTo>
                  <a:pt x="436168" y="77326"/>
                  <a:pt x="435759" y="77586"/>
                  <a:pt x="435220" y="77828"/>
                </a:cubicBezTo>
                <a:cubicBezTo>
                  <a:pt x="434680" y="78070"/>
                  <a:pt x="434057" y="78275"/>
                  <a:pt x="433350" y="78442"/>
                </a:cubicBezTo>
                <a:cubicBezTo>
                  <a:pt x="432643" y="78610"/>
                  <a:pt x="431899" y="78740"/>
                  <a:pt x="431118" y="78833"/>
                </a:cubicBezTo>
                <a:cubicBezTo>
                  <a:pt x="430336" y="78926"/>
                  <a:pt x="429573" y="78972"/>
                  <a:pt x="428829" y="78972"/>
                </a:cubicBezTo>
                <a:cubicBezTo>
                  <a:pt x="426336" y="78972"/>
                  <a:pt x="424216" y="78637"/>
                  <a:pt x="422467" y="77968"/>
                </a:cubicBezTo>
                <a:cubicBezTo>
                  <a:pt x="420718" y="77298"/>
                  <a:pt x="419286" y="76284"/>
                  <a:pt x="418170" y="74926"/>
                </a:cubicBezTo>
                <a:cubicBezTo>
                  <a:pt x="417053" y="73568"/>
                  <a:pt x="416244" y="71847"/>
                  <a:pt x="415742" y="69764"/>
                </a:cubicBezTo>
                <a:cubicBezTo>
                  <a:pt x="415239" y="67680"/>
                  <a:pt x="414988" y="65224"/>
                  <a:pt x="414988" y="62397"/>
                </a:cubicBezTo>
                <a:lnTo>
                  <a:pt x="414988" y="30975"/>
                </a:lnTo>
                <a:lnTo>
                  <a:pt x="407454" y="30975"/>
                </a:lnTo>
                <a:cubicBezTo>
                  <a:pt x="406933" y="30975"/>
                  <a:pt x="406524" y="30743"/>
                  <a:pt x="406226" y="30278"/>
                </a:cubicBezTo>
                <a:cubicBezTo>
                  <a:pt x="405928" y="29812"/>
                  <a:pt x="405780" y="29115"/>
                  <a:pt x="405780" y="28185"/>
                </a:cubicBezTo>
                <a:cubicBezTo>
                  <a:pt x="405780" y="27701"/>
                  <a:pt x="405817" y="27282"/>
                  <a:pt x="405891" y="26929"/>
                </a:cubicBezTo>
                <a:cubicBezTo>
                  <a:pt x="405966" y="26575"/>
                  <a:pt x="406077" y="26278"/>
                  <a:pt x="406226" y="26036"/>
                </a:cubicBezTo>
                <a:cubicBezTo>
                  <a:pt x="406375" y="25794"/>
                  <a:pt x="406552" y="25617"/>
                  <a:pt x="406756" y="25506"/>
                </a:cubicBezTo>
                <a:cubicBezTo>
                  <a:pt x="406961" y="25394"/>
                  <a:pt x="407193" y="25338"/>
                  <a:pt x="407454" y="25338"/>
                </a:cubicBezTo>
                <a:lnTo>
                  <a:pt x="414988" y="25338"/>
                </a:lnTo>
                <a:lnTo>
                  <a:pt x="414988" y="12948"/>
                </a:lnTo>
                <a:cubicBezTo>
                  <a:pt x="414988" y="12725"/>
                  <a:pt x="415035" y="12521"/>
                  <a:pt x="415128" y="12334"/>
                </a:cubicBezTo>
                <a:cubicBezTo>
                  <a:pt x="415221" y="12148"/>
                  <a:pt x="415398" y="11990"/>
                  <a:pt x="415658" y="11860"/>
                </a:cubicBezTo>
                <a:cubicBezTo>
                  <a:pt x="415919" y="11730"/>
                  <a:pt x="416263" y="11637"/>
                  <a:pt x="416691" y="11581"/>
                </a:cubicBezTo>
                <a:cubicBezTo>
                  <a:pt x="417118" y="11525"/>
                  <a:pt x="417649" y="11497"/>
                  <a:pt x="418281" y="11497"/>
                </a:cubicBezTo>
                <a:close/>
                <a:moveTo>
                  <a:pt x="30751" y="5191"/>
                </a:moveTo>
                <a:cubicBezTo>
                  <a:pt x="32909" y="5191"/>
                  <a:pt x="35002" y="5395"/>
                  <a:pt x="37030" y="5805"/>
                </a:cubicBezTo>
                <a:cubicBezTo>
                  <a:pt x="39058" y="6214"/>
                  <a:pt x="40927" y="6735"/>
                  <a:pt x="42639" y="7367"/>
                </a:cubicBezTo>
                <a:cubicBezTo>
                  <a:pt x="44351" y="8000"/>
                  <a:pt x="45885" y="8725"/>
                  <a:pt x="47243" y="9544"/>
                </a:cubicBezTo>
                <a:cubicBezTo>
                  <a:pt x="48601" y="10363"/>
                  <a:pt x="49532" y="11023"/>
                  <a:pt x="50034" y="11525"/>
                </a:cubicBezTo>
                <a:cubicBezTo>
                  <a:pt x="50536" y="12028"/>
                  <a:pt x="50852" y="12390"/>
                  <a:pt x="50983" y="12614"/>
                </a:cubicBezTo>
                <a:cubicBezTo>
                  <a:pt x="51113" y="12837"/>
                  <a:pt x="51215" y="13088"/>
                  <a:pt x="51290" y="13367"/>
                </a:cubicBezTo>
                <a:cubicBezTo>
                  <a:pt x="51364" y="13646"/>
                  <a:pt x="51420" y="13962"/>
                  <a:pt x="51457" y="14316"/>
                </a:cubicBezTo>
                <a:cubicBezTo>
                  <a:pt x="51494" y="14669"/>
                  <a:pt x="51513" y="15069"/>
                  <a:pt x="51513" y="15516"/>
                </a:cubicBezTo>
                <a:cubicBezTo>
                  <a:pt x="51513" y="16037"/>
                  <a:pt x="51485" y="16492"/>
                  <a:pt x="51429" y="16883"/>
                </a:cubicBezTo>
                <a:cubicBezTo>
                  <a:pt x="51373" y="17274"/>
                  <a:pt x="51280" y="17609"/>
                  <a:pt x="51150" y="17888"/>
                </a:cubicBezTo>
                <a:cubicBezTo>
                  <a:pt x="51020" y="18167"/>
                  <a:pt x="50862" y="18381"/>
                  <a:pt x="50676" y="18529"/>
                </a:cubicBezTo>
                <a:cubicBezTo>
                  <a:pt x="50490" y="18678"/>
                  <a:pt x="50266" y="18753"/>
                  <a:pt x="50006" y="18753"/>
                </a:cubicBezTo>
                <a:cubicBezTo>
                  <a:pt x="49485" y="18753"/>
                  <a:pt x="48750" y="18371"/>
                  <a:pt x="47801" y="17609"/>
                </a:cubicBezTo>
                <a:cubicBezTo>
                  <a:pt x="46853" y="16846"/>
                  <a:pt x="45606" y="15999"/>
                  <a:pt x="44062" y="15069"/>
                </a:cubicBezTo>
                <a:cubicBezTo>
                  <a:pt x="42518" y="14139"/>
                  <a:pt x="40630" y="13293"/>
                  <a:pt x="38397" y="12530"/>
                </a:cubicBezTo>
                <a:cubicBezTo>
                  <a:pt x="36165" y="11767"/>
                  <a:pt x="33505" y="11386"/>
                  <a:pt x="30416" y="11386"/>
                </a:cubicBezTo>
                <a:cubicBezTo>
                  <a:pt x="27031" y="11386"/>
                  <a:pt x="23924" y="12065"/>
                  <a:pt x="21096" y="13423"/>
                </a:cubicBezTo>
                <a:cubicBezTo>
                  <a:pt x="18269" y="14781"/>
                  <a:pt x="15841" y="16781"/>
                  <a:pt x="13813" y="19422"/>
                </a:cubicBezTo>
                <a:cubicBezTo>
                  <a:pt x="11785" y="22064"/>
                  <a:pt x="10204" y="25320"/>
                  <a:pt x="9069" y="29189"/>
                </a:cubicBezTo>
                <a:cubicBezTo>
                  <a:pt x="7934" y="33059"/>
                  <a:pt x="7367" y="37505"/>
                  <a:pt x="7367" y="42528"/>
                </a:cubicBezTo>
                <a:cubicBezTo>
                  <a:pt x="7367" y="47328"/>
                  <a:pt x="7888" y="51588"/>
                  <a:pt x="8930" y="55309"/>
                </a:cubicBezTo>
                <a:cubicBezTo>
                  <a:pt x="9971" y="59029"/>
                  <a:pt x="11478" y="62164"/>
                  <a:pt x="13450" y="64713"/>
                </a:cubicBezTo>
                <a:cubicBezTo>
                  <a:pt x="15422" y="67261"/>
                  <a:pt x="17859" y="69205"/>
                  <a:pt x="20762" y="70545"/>
                </a:cubicBezTo>
                <a:cubicBezTo>
                  <a:pt x="23664" y="71884"/>
                  <a:pt x="26956" y="72554"/>
                  <a:pt x="30640" y="72554"/>
                </a:cubicBezTo>
                <a:cubicBezTo>
                  <a:pt x="33653" y="72554"/>
                  <a:pt x="36286" y="72173"/>
                  <a:pt x="38537" y="71410"/>
                </a:cubicBezTo>
                <a:cubicBezTo>
                  <a:pt x="40788" y="70647"/>
                  <a:pt x="42713" y="69801"/>
                  <a:pt x="44313" y="68871"/>
                </a:cubicBezTo>
                <a:cubicBezTo>
                  <a:pt x="45913" y="67940"/>
                  <a:pt x="47225" y="67094"/>
                  <a:pt x="48248" y="66331"/>
                </a:cubicBezTo>
                <a:cubicBezTo>
                  <a:pt x="49271" y="65568"/>
                  <a:pt x="50062" y="65187"/>
                  <a:pt x="50620" y="65187"/>
                </a:cubicBezTo>
                <a:cubicBezTo>
                  <a:pt x="50843" y="65187"/>
                  <a:pt x="51029" y="65234"/>
                  <a:pt x="51178" y="65327"/>
                </a:cubicBezTo>
                <a:cubicBezTo>
                  <a:pt x="51327" y="65420"/>
                  <a:pt x="51448" y="65587"/>
                  <a:pt x="51541" y="65829"/>
                </a:cubicBezTo>
                <a:cubicBezTo>
                  <a:pt x="51634" y="66071"/>
                  <a:pt x="51708" y="66396"/>
                  <a:pt x="51764" y="66806"/>
                </a:cubicBezTo>
                <a:cubicBezTo>
                  <a:pt x="51820" y="67215"/>
                  <a:pt x="51848" y="67717"/>
                  <a:pt x="51848" y="68312"/>
                </a:cubicBezTo>
                <a:cubicBezTo>
                  <a:pt x="51848" y="68722"/>
                  <a:pt x="51829" y="69094"/>
                  <a:pt x="51792" y="69429"/>
                </a:cubicBezTo>
                <a:cubicBezTo>
                  <a:pt x="51755" y="69764"/>
                  <a:pt x="51699" y="70061"/>
                  <a:pt x="51625" y="70322"/>
                </a:cubicBezTo>
                <a:cubicBezTo>
                  <a:pt x="51550" y="70582"/>
                  <a:pt x="51448" y="70824"/>
                  <a:pt x="51318" y="71047"/>
                </a:cubicBezTo>
                <a:cubicBezTo>
                  <a:pt x="51187" y="71270"/>
                  <a:pt x="50945" y="71559"/>
                  <a:pt x="50592" y="71912"/>
                </a:cubicBezTo>
                <a:cubicBezTo>
                  <a:pt x="50239" y="72266"/>
                  <a:pt x="49466" y="72842"/>
                  <a:pt x="48276" y="73642"/>
                </a:cubicBezTo>
                <a:cubicBezTo>
                  <a:pt x="47085" y="74442"/>
                  <a:pt x="45588" y="75233"/>
                  <a:pt x="43783" y="76014"/>
                </a:cubicBezTo>
                <a:cubicBezTo>
                  <a:pt x="41979" y="76796"/>
                  <a:pt x="39904" y="77465"/>
                  <a:pt x="37560" y="78024"/>
                </a:cubicBezTo>
                <a:cubicBezTo>
                  <a:pt x="35216" y="78582"/>
                  <a:pt x="32630" y="78861"/>
                  <a:pt x="29803" y="78861"/>
                </a:cubicBezTo>
                <a:cubicBezTo>
                  <a:pt x="25263" y="78861"/>
                  <a:pt x="21152" y="78070"/>
                  <a:pt x="17469" y="76489"/>
                </a:cubicBezTo>
                <a:cubicBezTo>
                  <a:pt x="13785" y="74907"/>
                  <a:pt x="10651" y="72591"/>
                  <a:pt x="8065" y="69540"/>
                </a:cubicBezTo>
                <a:cubicBezTo>
                  <a:pt x="5479" y="66489"/>
                  <a:pt x="3488" y="62731"/>
                  <a:pt x="2093" y="58267"/>
                </a:cubicBezTo>
                <a:cubicBezTo>
                  <a:pt x="698" y="53802"/>
                  <a:pt x="0" y="48704"/>
                  <a:pt x="0" y="42974"/>
                </a:cubicBezTo>
                <a:cubicBezTo>
                  <a:pt x="0" y="37096"/>
                  <a:pt x="744" y="31822"/>
                  <a:pt x="2232" y="27152"/>
                </a:cubicBezTo>
                <a:cubicBezTo>
                  <a:pt x="3721" y="22483"/>
                  <a:pt x="5814" y="18520"/>
                  <a:pt x="8511" y="15265"/>
                </a:cubicBezTo>
                <a:cubicBezTo>
                  <a:pt x="11209" y="12009"/>
                  <a:pt x="14446" y="9516"/>
                  <a:pt x="18222" y="7786"/>
                </a:cubicBezTo>
                <a:cubicBezTo>
                  <a:pt x="21999" y="6056"/>
                  <a:pt x="26175" y="5191"/>
                  <a:pt x="30751" y="5191"/>
                </a:cubicBezTo>
                <a:close/>
                <a:moveTo>
                  <a:pt x="454372" y="4968"/>
                </a:moveTo>
                <a:cubicBezTo>
                  <a:pt x="456009" y="4968"/>
                  <a:pt x="457135" y="5274"/>
                  <a:pt x="457749" y="5888"/>
                </a:cubicBezTo>
                <a:cubicBezTo>
                  <a:pt x="458362" y="6502"/>
                  <a:pt x="458669" y="7702"/>
                  <a:pt x="458669" y="9488"/>
                </a:cubicBezTo>
                <a:cubicBezTo>
                  <a:pt x="458669" y="11274"/>
                  <a:pt x="458353" y="12483"/>
                  <a:pt x="457721" y="13116"/>
                </a:cubicBezTo>
                <a:cubicBezTo>
                  <a:pt x="457088" y="13748"/>
                  <a:pt x="455935" y="14065"/>
                  <a:pt x="454260" y="14065"/>
                </a:cubicBezTo>
                <a:cubicBezTo>
                  <a:pt x="452623" y="14065"/>
                  <a:pt x="451498" y="13758"/>
                  <a:pt x="450884" y="13144"/>
                </a:cubicBezTo>
                <a:cubicBezTo>
                  <a:pt x="450270" y="12530"/>
                  <a:pt x="449963" y="11330"/>
                  <a:pt x="449963" y="9544"/>
                </a:cubicBezTo>
                <a:cubicBezTo>
                  <a:pt x="449963" y="7758"/>
                  <a:pt x="450279" y="6549"/>
                  <a:pt x="450912" y="5916"/>
                </a:cubicBezTo>
                <a:cubicBezTo>
                  <a:pt x="451544" y="5284"/>
                  <a:pt x="452698" y="4968"/>
                  <a:pt x="454372" y="4968"/>
                </a:cubicBezTo>
                <a:close/>
                <a:moveTo>
                  <a:pt x="216247" y="4968"/>
                </a:moveTo>
                <a:cubicBezTo>
                  <a:pt x="217884" y="4968"/>
                  <a:pt x="219010" y="5274"/>
                  <a:pt x="219624" y="5888"/>
                </a:cubicBezTo>
                <a:cubicBezTo>
                  <a:pt x="220237" y="6502"/>
                  <a:pt x="220544" y="7702"/>
                  <a:pt x="220544" y="9488"/>
                </a:cubicBezTo>
                <a:cubicBezTo>
                  <a:pt x="220544" y="11274"/>
                  <a:pt x="220228" y="12483"/>
                  <a:pt x="219596" y="13116"/>
                </a:cubicBezTo>
                <a:cubicBezTo>
                  <a:pt x="218963" y="13748"/>
                  <a:pt x="217810" y="14065"/>
                  <a:pt x="216135" y="14065"/>
                </a:cubicBezTo>
                <a:cubicBezTo>
                  <a:pt x="214498" y="14065"/>
                  <a:pt x="213373" y="13758"/>
                  <a:pt x="212759" y="13144"/>
                </a:cubicBezTo>
                <a:cubicBezTo>
                  <a:pt x="212145" y="12530"/>
                  <a:pt x="211838" y="11330"/>
                  <a:pt x="211838" y="9544"/>
                </a:cubicBezTo>
                <a:cubicBezTo>
                  <a:pt x="211838" y="7758"/>
                  <a:pt x="212154" y="6549"/>
                  <a:pt x="212787" y="5916"/>
                </a:cubicBezTo>
                <a:cubicBezTo>
                  <a:pt x="213419" y="5284"/>
                  <a:pt x="214573" y="4968"/>
                  <a:pt x="216247" y="4968"/>
                </a:cubicBezTo>
                <a:close/>
                <a:moveTo>
                  <a:pt x="278866" y="614"/>
                </a:moveTo>
                <a:cubicBezTo>
                  <a:pt x="279536" y="614"/>
                  <a:pt x="280085" y="651"/>
                  <a:pt x="280513" y="726"/>
                </a:cubicBezTo>
                <a:cubicBezTo>
                  <a:pt x="280941" y="800"/>
                  <a:pt x="281276" y="893"/>
                  <a:pt x="281517" y="1005"/>
                </a:cubicBezTo>
                <a:cubicBezTo>
                  <a:pt x="281759" y="1117"/>
                  <a:pt x="281936" y="1265"/>
                  <a:pt x="282048" y="1451"/>
                </a:cubicBezTo>
                <a:cubicBezTo>
                  <a:pt x="282159" y="1637"/>
                  <a:pt x="282215" y="1842"/>
                  <a:pt x="282215" y="2065"/>
                </a:cubicBezTo>
                <a:lnTo>
                  <a:pt x="282215" y="77019"/>
                </a:lnTo>
                <a:cubicBezTo>
                  <a:pt x="282215" y="77279"/>
                  <a:pt x="282169" y="77503"/>
                  <a:pt x="282076" y="77689"/>
                </a:cubicBezTo>
                <a:cubicBezTo>
                  <a:pt x="281983" y="77875"/>
                  <a:pt x="281815" y="78024"/>
                  <a:pt x="281573" y="78135"/>
                </a:cubicBezTo>
                <a:cubicBezTo>
                  <a:pt x="281331" y="78247"/>
                  <a:pt x="281024" y="78330"/>
                  <a:pt x="280652" y="78386"/>
                </a:cubicBezTo>
                <a:cubicBezTo>
                  <a:pt x="280280" y="78442"/>
                  <a:pt x="279815" y="78470"/>
                  <a:pt x="279257" y="78470"/>
                </a:cubicBezTo>
                <a:cubicBezTo>
                  <a:pt x="278662" y="78470"/>
                  <a:pt x="278169" y="78442"/>
                  <a:pt x="277778" y="78386"/>
                </a:cubicBezTo>
                <a:cubicBezTo>
                  <a:pt x="277387" y="78330"/>
                  <a:pt x="277071" y="78247"/>
                  <a:pt x="276829" y="78135"/>
                </a:cubicBezTo>
                <a:cubicBezTo>
                  <a:pt x="276587" y="78024"/>
                  <a:pt x="276401" y="77875"/>
                  <a:pt x="276271" y="77689"/>
                </a:cubicBezTo>
                <a:cubicBezTo>
                  <a:pt x="276141" y="77503"/>
                  <a:pt x="276076" y="77279"/>
                  <a:pt x="276076" y="77019"/>
                </a:cubicBezTo>
                <a:lnTo>
                  <a:pt x="276076" y="69764"/>
                </a:lnTo>
                <a:cubicBezTo>
                  <a:pt x="273397" y="72666"/>
                  <a:pt x="270625" y="74945"/>
                  <a:pt x="267760" y="76600"/>
                </a:cubicBezTo>
                <a:cubicBezTo>
                  <a:pt x="264895" y="78256"/>
                  <a:pt x="261770" y="79084"/>
                  <a:pt x="258384" y="79084"/>
                </a:cubicBezTo>
                <a:cubicBezTo>
                  <a:pt x="254738" y="79084"/>
                  <a:pt x="251631" y="78377"/>
                  <a:pt x="249064" y="76963"/>
                </a:cubicBezTo>
                <a:cubicBezTo>
                  <a:pt x="246496" y="75549"/>
                  <a:pt x="244403" y="73633"/>
                  <a:pt x="242785" y="71215"/>
                </a:cubicBezTo>
                <a:cubicBezTo>
                  <a:pt x="241166" y="68796"/>
                  <a:pt x="239985" y="65959"/>
                  <a:pt x="239241" y="62704"/>
                </a:cubicBezTo>
                <a:cubicBezTo>
                  <a:pt x="238497" y="59448"/>
                  <a:pt x="238125" y="55997"/>
                  <a:pt x="238125" y="52351"/>
                </a:cubicBezTo>
                <a:cubicBezTo>
                  <a:pt x="238125" y="48072"/>
                  <a:pt x="238590" y="44212"/>
                  <a:pt x="239520" y="40770"/>
                </a:cubicBezTo>
                <a:cubicBezTo>
                  <a:pt x="240450" y="37328"/>
                  <a:pt x="241827" y="34398"/>
                  <a:pt x="243650" y="31980"/>
                </a:cubicBezTo>
                <a:cubicBezTo>
                  <a:pt x="245473" y="29561"/>
                  <a:pt x="247724" y="27701"/>
                  <a:pt x="250403" y="26399"/>
                </a:cubicBezTo>
                <a:cubicBezTo>
                  <a:pt x="253082" y="25097"/>
                  <a:pt x="256189" y="24445"/>
                  <a:pt x="259723" y="24445"/>
                </a:cubicBezTo>
                <a:cubicBezTo>
                  <a:pt x="262774" y="24445"/>
                  <a:pt x="265565" y="25124"/>
                  <a:pt x="268095" y="26482"/>
                </a:cubicBezTo>
                <a:cubicBezTo>
                  <a:pt x="270625" y="27841"/>
                  <a:pt x="273118" y="29840"/>
                  <a:pt x="275574" y="32482"/>
                </a:cubicBezTo>
                <a:lnTo>
                  <a:pt x="275574" y="2065"/>
                </a:lnTo>
                <a:cubicBezTo>
                  <a:pt x="275574" y="1842"/>
                  <a:pt x="275620" y="1637"/>
                  <a:pt x="275713" y="1451"/>
                </a:cubicBezTo>
                <a:cubicBezTo>
                  <a:pt x="275806" y="1265"/>
                  <a:pt x="275983" y="1117"/>
                  <a:pt x="276243" y="1005"/>
                </a:cubicBezTo>
                <a:cubicBezTo>
                  <a:pt x="276504" y="893"/>
                  <a:pt x="276848" y="800"/>
                  <a:pt x="277276" y="726"/>
                </a:cubicBezTo>
                <a:cubicBezTo>
                  <a:pt x="277704" y="651"/>
                  <a:pt x="278234" y="614"/>
                  <a:pt x="278866" y="614"/>
                </a:cubicBezTo>
                <a:close/>
                <a:moveTo>
                  <a:pt x="540041" y="335"/>
                </a:moveTo>
                <a:cubicBezTo>
                  <a:pt x="540711" y="335"/>
                  <a:pt x="541260" y="363"/>
                  <a:pt x="541688" y="419"/>
                </a:cubicBezTo>
                <a:cubicBezTo>
                  <a:pt x="542115" y="475"/>
                  <a:pt x="542450" y="568"/>
                  <a:pt x="542692" y="698"/>
                </a:cubicBezTo>
                <a:cubicBezTo>
                  <a:pt x="542934" y="828"/>
                  <a:pt x="543111" y="986"/>
                  <a:pt x="543222" y="1172"/>
                </a:cubicBezTo>
                <a:cubicBezTo>
                  <a:pt x="543334" y="1358"/>
                  <a:pt x="543390" y="1563"/>
                  <a:pt x="543390" y="1786"/>
                </a:cubicBezTo>
                <a:lnTo>
                  <a:pt x="543390" y="77019"/>
                </a:lnTo>
                <a:cubicBezTo>
                  <a:pt x="543390" y="77242"/>
                  <a:pt x="543334" y="77447"/>
                  <a:pt x="543222" y="77633"/>
                </a:cubicBezTo>
                <a:cubicBezTo>
                  <a:pt x="543111" y="77819"/>
                  <a:pt x="542934" y="77968"/>
                  <a:pt x="542692" y="78079"/>
                </a:cubicBezTo>
                <a:cubicBezTo>
                  <a:pt x="542450" y="78191"/>
                  <a:pt x="542115" y="78284"/>
                  <a:pt x="541688" y="78358"/>
                </a:cubicBezTo>
                <a:cubicBezTo>
                  <a:pt x="541260" y="78433"/>
                  <a:pt x="540711" y="78470"/>
                  <a:pt x="540041" y="78470"/>
                </a:cubicBezTo>
                <a:cubicBezTo>
                  <a:pt x="539409" y="78470"/>
                  <a:pt x="538878" y="78433"/>
                  <a:pt x="538451" y="78358"/>
                </a:cubicBezTo>
                <a:cubicBezTo>
                  <a:pt x="538023" y="78284"/>
                  <a:pt x="537679" y="78191"/>
                  <a:pt x="537418" y="78079"/>
                </a:cubicBezTo>
                <a:cubicBezTo>
                  <a:pt x="537158" y="77968"/>
                  <a:pt x="536981" y="77819"/>
                  <a:pt x="536888" y="77633"/>
                </a:cubicBezTo>
                <a:cubicBezTo>
                  <a:pt x="536795" y="77447"/>
                  <a:pt x="536748" y="77242"/>
                  <a:pt x="536748" y="77019"/>
                </a:cubicBezTo>
                <a:lnTo>
                  <a:pt x="536748" y="1786"/>
                </a:lnTo>
                <a:cubicBezTo>
                  <a:pt x="536748" y="1563"/>
                  <a:pt x="536795" y="1358"/>
                  <a:pt x="536888" y="1172"/>
                </a:cubicBezTo>
                <a:cubicBezTo>
                  <a:pt x="536981" y="986"/>
                  <a:pt x="537158" y="828"/>
                  <a:pt x="537418" y="698"/>
                </a:cubicBezTo>
                <a:cubicBezTo>
                  <a:pt x="537679" y="568"/>
                  <a:pt x="538023" y="475"/>
                  <a:pt x="538451" y="419"/>
                </a:cubicBezTo>
                <a:cubicBezTo>
                  <a:pt x="538878" y="363"/>
                  <a:pt x="539409" y="335"/>
                  <a:pt x="540041" y="335"/>
                </a:cubicBezTo>
                <a:close/>
                <a:moveTo>
                  <a:pt x="192490" y="0"/>
                </a:moveTo>
                <a:cubicBezTo>
                  <a:pt x="193755" y="0"/>
                  <a:pt x="194983" y="121"/>
                  <a:pt x="196174" y="363"/>
                </a:cubicBezTo>
                <a:cubicBezTo>
                  <a:pt x="197364" y="605"/>
                  <a:pt x="198267" y="865"/>
                  <a:pt x="198881" y="1144"/>
                </a:cubicBezTo>
                <a:cubicBezTo>
                  <a:pt x="199495" y="1424"/>
                  <a:pt x="199904" y="1665"/>
                  <a:pt x="200108" y="1870"/>
                </a:cubicBezTo>
                <a:cubicBezTo>
                  <a:pt x="200313" y="2075"/>
                  <a:pt x="200481" y="2326"/>
                  <a:pt x="200611" y="2623"/>
                </a:cubicBezTo>
                <a:cubicBezTo>
                  <a:pt x="200741" y="2921"/>
                  <a:pt x="200834" y="3265"/>
                  <a:pt x="200890" y="3656"/>
                </a:cubicBezTo>
                <a:cubicBezTo>
                  <a:pt x="200946" y="4047"/>
                  <a:pt x="200974" y="4484"/>
                  <a:pt x="200974" y="4968"/>
                </a:cubicBezTo>
                <a:cubicBezTo>
                  <a:pt x="200974" y="5488"/>
                  <a:pt x="200946" y="5907"/>
                  <a:pt x="200890" y="6223"/>
                </a:cubicBezTo>
                <a:cubicBezTo>
                  <a:pt x="200834" y="6540"/>
                  <a:pt x="200760" y="6791"/>
                  <a:pt x="200667" y="6977"/>
                </a:cubicBezTo>
                <a:cubicBezTo>
                  <a:pt x="200574" y="7163"/>
                  <a:pt x="200462" y="7293"/>
                  <a:pt x="200332" y="7367"/>
                </a:cubicBezTo>
                <a:cubicBezTo>
                  <a:pt x="200201" y="7442"/>
                  <a:pt x="200043" y="7479"/>
                  <a:pt x="199857" y="7479"/>
                </a:cubicBezTo>
                <a:cubicBezTo>
                  <a:pt x="199560" y="7479"/>
                  <a:pt x="199206" y="7386"/>
                  <a:pt x="198797" y="7200"/>
                </a:cubicBezTo>
                <a:cubicBezTo>
                  <a:pt x="198388" y="7014"/>
                  <a:pt x="197876" y="6809"/>
                  <a:pt x="197262" y="6586"/>
                </a:cubicBezTo>
                <a:cubicBezTo>
                  <a:pt x="196648" y="6363"/>
                  <a:pt x="195923" y="6158"/>
                  <a:pt x="195085" y="5972"/>
                </a:cubicBezTo>
                <a:cubicBezTo>
                  <a:pt x="194248" y="5786"/>
                  <a:pt x="193272" y="5693"/>
                  <a:pt x="192155" y="5693"/>
                </a:cubicBezTo>
                <a:cubicBezTo>
                  <a:pt x="190593" y="5693"/>
                  <a:pt x="189272" y="5944"/>
                  <a:pt x="188193" y="6446"/>
                </a:cubicBezTo>
                <a:cubicBezTo>
                  <a:pt x="187114" y="6949"/>
                  <a:pt x="186240" y="7749"/>
                  <a:pt x="185570" y="8846"/>
                </a:cubicBezTo>
                <a:cubicBezTo>
                  <a:pt x="184900" y="9944"/>
                  <a:pt x="184426" y="11358"/>
                  <a:pt x="184147" y="13088"/>
                </a:cubicBezTo>
                <a:cubicBezTo>
                  <a:pt x="183868" y="14818"/>
                  <a:pt x="183728" y="16911"/>
                  <a:pt x="183728" y="19367"/>
                </a:cubicBezTo>
                <a:lnTo>
                  <a:pt x="183728" y="25338"/>
                </a:lnTo>
                <a:lnTo>
                  <a:pt x="196118" y="25338"/>
                </a:lnTo>
                <a:cubicBezTo>
                  <a:pt x="196378" y="25338"/>
                  <a:pt x="196602" y="25394"/>
                  <a:pt x="196788" y="25506"/>
                </a:cubicBezTo>
                <a:cubicBezTo>
                  <a:pt x="196974" y="25617"/>
                  <a:pt x="197141" y="25794"/>
                  <a:pt x="197290" y="26036"/>
                </a:cubicBezTo>
                <a:cubicBezTo>
                  <a:pt x="197439" y="26278"/>
                  <a:pt x="197550" y="26575"/>
                  <a:pt x="197625" y="26929"/>
                </a:cubicBezTo>
                <a:cubicBezTo>
                  <a:pt x="197699" y="27282"/>
                  <a:pt x="197737" y="27701"/>
                  <a:pt x="197737" y="28185"/>
                </a:cubicBezTo>
                <a:cubicBezTo>
                  <a:pt x="197737" y="29115"/>
                  <a:pt x="197588" y="29812"/>
                  <a:pt x="197290" y="30278"/>
                </a:cubicBezTo>
                <a:cubicBezTo>
                  <a:pt x="196992" y="30743"/>
                  <a:pt x="196602" y="30975"/>
                  <a:pt x="196118" y="30975"/>
                </a:cubicBezTo>
                <a:lnTo>
                  <a:pt x="183728" y="30975"/>
                </a:lnTo>
                <a:lnTo>
                  <a:pt x="183728" y="77019"/>
                </a:lnTo>
                <a:cubicBezTo>
                  <a:pt x="183728" y="77242"/>
                  <a:pt x="183672" y="77447"/>
                  <a:pt x="183561" y="77633"/>
                </a:cubicBezTo>
                <a:cubicBezTo>
                  <a:pt x="183449" y="77819"/>
                  <a:pt x="183272" y="77968"/>
                  <a:pt x="183030" y="78079"/>
                </a:cubicBezTo>
                <a:cubicBezTo>
                  <a:pt x="182789" y="78191"/>
                  <a:pt x="182444" y="78284"/>
                  <a:pt x="181998" y="78358"/>
                </a:cubicBezTo>
                <a:cubicBezTo>
                  <a:pt x="181551" y="78433"/>
                  <a:pt x="181012" y="78470"/>
                  <a:pt x="180379" y="78470"/>
                </a:cubicBezTo>
                <a:cubicBezTo>
                  <a:pt x="179747" y="78470"/>
                  <a:pt x="179217" y="78433"/>
                  <a:pt x="178789" y="78358"/>
                </a:cubicBezTo>
                <a:cubicBezTo>
                  <a:pt x="178361" y="78284"/>
                  <a:pt x="178017" y="78191"/>
                  <a:pt x="177756" y="78079"/>
                </a:cubicBezTo>
                <a:cubicBezTo>
                  <a:pt x="177496" y="77968"/>
                  <a:pt x="177319" y="77819"/>
                  <a:pt x="177226" y="77633"/>
                </a:cubicBezTo>
                <a:cubicBezTo>
                  <a:pt x="177133" y="77447"/>
                  <a:pt x="177087" y="77242"/>
                  <a:pt x="177087" y="77019"/>
                </a:cubicBezTo>
                <a:lnTo>
                  <a:pt x="177087" y="30975"/>
                </a:lnTo>
                <a:lnTo>
                  <a:pt x="169496" y="30975"/>
                </a:lnTo>
                <a:cubicBezTo>
                  <a:pt x="168975" y="30975"/>
                  <a:pt x="168575" y="30743"/>
                  <a:pt x="168296" y="30278"/>
                </a:cubicBezTo>
                <a:cubicBezTo>
                  <a:pt x="168017" y="29812"/>
                  <a:pt x="167878" y="29115"/>
                  <a:pt x="167878" y="28185"/>
                </a:cubicBezTo>
                <a:cubicBezTo>
                  <a:pt x="167878" y="27701"/>
                  <a:pt x="167915" y="27282"/>
                  <a:pt x="167989" y="26929"/>
                </a:cubicBezTo>
                <a:cubicBezTo>
                  <a:pt x="168064" y="26575"/>
                  <a:pt x="168166" y="26278"/>
                  <a:pt x="168296" y="26036"/>
                </a:cubicBezTo>
                <a:cubicBezTo>
                  <a:pt x="168427" y="25794"/>
                  <a:pt x="168594" y="25617"/>
                  <a:pt x="168799" y="25506"/>
                </a:cubicBezTo>
                <a:cubicBezTo>
                  <a:pt x="169003" y="25394"/>
                  <a:pt x="169236" y="25338"/>
                  <a:pt x="169496" y="25338"/>
                </a:cubicBezTo>
                <a:lnTo>
                  <a:pt x="177087" y="25338"/>
                </a:lnTo>
                <a:lnTo>
                  <a:pt x="177087" y="19590"/>
                </a:lnTo>
                <a:cubicBezTo>
                  <a:pt x="177087" y="16055"/>
                  <a:pt x="177403" y="13041"/>
                  <a:pt x="178035" y="10549"/>
                </a:cubicBezTo>
                <a:cubicBezTo>
                  <a:pt x="178668" y="8056"/>
                  <a:pt x="179626" y="6028"/>
                  <a:pt x="180910" y="4465"/>
                </a:cubicBezTo>
                <a:cubicBezTo>
                  <a:pt x="182193" y="2903"/>
                  <a:pt x="183803" y="1768"/>
                  <a:pt x="185737" y="1061"/>
                </a:cubicBezTo>
                <a:cubicBezTo>
                  <a:pt x="187672" y="354"/>
                  <a:pt x="189923" y="0"/>
                  <a:pt x="192490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76F0AC6B-E11C-4402-9BAB-67617E3AE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400" y="1512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C85685-E58E-4B89-9E3C-FDCD16B90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0400" y="8316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US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5B8C724F-02E1-422B-8BE7-A3AF5F1B3EEA}" type="datetime1">
              <a:rPr lang="en-US" smtClean="0"/>
              <a:t>10/15/2024</a:t>
            </a:fld>
            <a:endParaRPr lang="en-US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D9F8B71-62D2-4D59-B2A2-7569526015DF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5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62" r:id="rId3"/>
    <p:sldLayoutId id="2147483938" r:id="rId4"/>
    <p:sldLayoutId id="2147484020" r:id="rId5"/>
    <p:sldLayoutId id="2147484002" r:id="rId6"/>
    <p:sldLayoutId id="2147484005" r:id="rId7"/>
    <p:sldLayoutId id="2147484001" r:id="rId8"/>
    <p:sldLayoutId id="2147484007" r:id="rId9"/>
    <p:sldLayoutId id="2147483940" r:id="rId10"/>
    <p:sldLayoutId id="2147484021" r:id="rId11"/>
    <p:sldLayoutId id="2147483941" r:id="rId12"/>
    <p:sldLayoutId id="2147483942" r:id="rId13"/>
    <p:sldLayoutId id="2147483943" r:id="rId14"/>
    <p:sldLayoutId id="2147483944" r:id="rId15"/>
    <p:sldLayoutId id="2147483945" r:id="rId16"/>
    <p:sldLayoutId id="2147483946" r:id="rId17"/>
    <p:sldLayoutId id="2147483947" r:id="rId18"/>
    <p:sldLayoutId id="2147483948" r:id="rId19"/>
    <p:sldLayoutId id="2147483949" r:id="rId20"/>
    <p:sldLayoutId id="2147483950" r:id="rId21"/>
    <p:sldLayoutId id="2147483956" r:id="rId22"/>
    <p:sldLayoutId id="2147483952" r:id="rId23"/>
    <p:sldLayoutId id="2147483953" r:id="rId24"/>
    <p:sldLayoutId id="2147483957" r:id="rId25"/>
    <p:sldLayoutId id="2147483951" r:id="rId26"/>
    <p:sldLayoutId id="2147483963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9" userDrawn="1">
          <p15:clr>
            <a:srgbClr val="F26B43"/>
          </p15:clr>
        </p15:guide>
        <p15:guide id="2" pos="560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5A86EDC-2037-4B6A-A8F0-DFC6C9725AFB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9" name="Pladsholder til titel 1">
            <a:extLst>
              <a:ext uri="{FF2B5EF4-FFF2-40B4-BE49-F238E27FC236}">
                <a16:creationId xmlns:a16="http://schemas.microsoft.com/office/drawing/2014/main" id="{B59D5AB2-25E6-BF42-8D5E-65A774040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00" y="5400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5EC291D8-DBCD-EF46-A1B9-1679BDEBA3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600" y="10080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8" name="Kombinationstegning: figur 7">
            <a:extLst>
              <a:ext uri="{FF2B5EF4-FFF2-40B4-BE49-F238E27FC236}">
                <a16:creationId xmlns:a16="http://schemas.microsoft.com/office/drawing/2014/main" id="{BFFF1002-5F89-ED7E-0397-772232367091}"/>
              </a:ext>
            </a:extLst>
          </p:cNvPr>
          <p:cNvSpPr/>
          <p:nvPr userDrawn="1"/>
        </p:nvSpPr>
        <p:spPr>
          <a:xfrm>
            <a:off x="8021030" y="4760047"/>
            <a:ext cx="878495" cy="98506"/>
          </a:xfrm>
          <a:custGeom>
            <a:avLst/>
            <a:gdLst/>
            <a:ahLst/>
            <a:cxnLst/>
            <a:rect l="l" t="t" r="r" b="b"/>
            <a:pathLst>
              <a:path w="878495" h="98506">
                <a:moveTo>
                  <a:pt x="834237" y="53188"/>
                </a:moveTo>
                <a:cubicBezTo>
                  <a:pt x="831558" y="53188"/>
                  <a:pt x="829214" y="53430"/>
                  <a:pt x="827205" y="53913"/>
                </a:cubicBezTo>
                <a:cubicBezTo>
                  <a:pt x="825196" y="54397"/>
                  <a:pt x="823521" y="55104"/>
                  <a:pt x="822182" y="56034"/>
                </a:cubicBezTo>
                <a:cubicBezTo>
                  <a:pt x="820843" y="56964"/>
                  <a:pt x="819847" y="58081"/>
                  <a:pt x="819196" y="59383"/>
                </a:cubicBezTo>
                <a:cubicBezTo>
                  <a:pt x="818545" y="60685"/>
                  <a:pt x="818219" y="62173"/>
                  <a:pt x="818219" y="63848"/>
                </a:cubicBezTo>
                <a:cubicBezTo>
                  <a:pt x="818219" y="66750"/>
                  <a:pt x="819140" y="69066"/>
                  <a:pt x="820982" y="70796"/>
                </a:cubicBezTo>
                <a:cubicBezTo>
                  <a:pt x="822824" y="72526"/>
                  <a:pt x="825419" y="73391"/>
                  <a:pt x="828768" y="73391"/>
                </a:cubicBezTo>
                <a:cubicBezTo>
                  <a:pt x="831409" y="73391"/>
                  <a:pt x="833874" y="72712"/>
                  <a:pt x="836163" y="71354"/>
                </a:cubicBezTo>
                <a:cubicBezTo>
                  <a:pt x="838451" y="69996"/>
                  <a:pt x="840879" y="67903"/>
                  <a:pt x="843446" y="65076"/>
                </a:cubicBezTo>
                <a:lnTo>
                  <a:pt x="843446" y="53188"/>
                </a:lnTo>
                <a:close/>
                <a:moveTo>
                  <a:pt x="416197" y="30250"/>
                </a:moveTo>
                <a:cubicBezTo>
                  <a:pt x="413184" y="30250"/>
                  <a:pt x="410579" y="30789"/>
                  <a:pt x="408384" y="31868"/>
                </a:cubicBezTo>
                <a:cubicBezTo>
                  <a:pt x="406189" y="32947"/>
                  <a:pt x="404393" y="34445"/>
                  <a:pt x="402998" y="36361"/>
                </a:cubicBezTo>
                <a:cubicBezTo>
                  <a:pt x="401603" y="38277"/>
                  <a:pt x="400571" y="40538"/>
                  <a:pt x="399901" y="43142"/>
                </a:cubicBezTo>
                <a:cubicBezTo>
                  <a:pt x="399231" y="45747"/>
                  <a:pt x="398896" y="48556"/>
                  <a:pt x="398896" y="51569"/>
                </a:cubicBezTo>
                <a:cubicBezTo>
                  <a:pt x="398896" y="54472"/>
                  <a:pt x="399175" y="57234"/>
                  <a:pt x="399733" y="59857"/>
                </a:cubicBezTo>
                <a:cubicBezTo>
                  <a:pt x="400291" y="62480"/>
                  <a:pt x="401222" y="64778"/>
                  <a:pt x="402524" y="66750"/>
                </a:cubicBezTo>
                <a:cubicBezTo>
                  <a:pt x="403826" y="68722"/>
                  <a:pt x="405575" y="70285"/>
                  <a:pt x="407770" y="71438"/>
                </a:cubicBezTo>
                <a:cubicBezTo>
                  <a:pt x="409965" y="72591"/>
                  <a:pt x="412700" y="73168"/>
                  <a:pt x="415974" y="73168"/>
                </a:cubicBezTo>
                <a:cubicBezTo>
                  <a:pt x="418988" y="73168"/>
                  <a:pt x="421592" y="72629"/>
                  <a:pt x="423788" y="71550"/>
                </a:cubicBezTo>
                <a:cubicBezTo>
                  <a:pt x="425983" y="70471"/>
                  <a:pt x="427778" y="68982"/>
                  <a:pt x="429173" y="67085"/>
                </a:cubicBezTo>
                <a:cubicBezTo>
                  <a:pt x="430569" y="65187"/>
                  <a:pt x="431601" y="62936"/>
                  <a:pt x="432271" y="60332"/>
                </a:cubicBezTo>
                <a:cubicBezTo>
                  <a:pt x="432941" y="57727"/>
                  <a:pt x="433275" y="54899"/>
                  <a:pt x="433275" y="51848"/>
                </a:cubicBezTo>
                <a:cubicBezTo>
                  <a:pt x="433275" y="48984"/>
                  <a:pt x="432996" y="46249"/>
                  <a:pt x="432438" y="43644"/>
                </a:cubicBezTo>
                <a:cubicBezTo>
                  <a:pt x="431880" y="41040"/>
                  <a:pt x="430950" y="38742"/>
                  <a:pt x="429648" y="36752"/>
                </a:cubicBezTo>
                <a:cubicBezTo>
                  <a:pt x="428346" y="34761"/>
                  <a:pt x="426597" y="33180"/>
                  <a:pt x="424402" y="32008"/>
                </a:cubicBezTo>
                <a:cubicBezTo>
                  <a:pt x="422206" y="30836"/>
                  <a:pt x="419472" y="30250"/>
                  <a:pt x="416197" y="30250"/>
                </a:cubicBezTo>
                <a:close/>
                <a:moveTo>
                  <a:pt x="653150" y="30138"/>
                </a:moveTo>
                <a:cubicBezTo>
                  <a:pt x="650620" y="30138"/>
                  <a:pt x="648397" y="30613"/>
                  <a:pt x="646481" y="31561"/>
                </a:cubicBezTo>
                <a:cubicBezTo>
                  <a:pt x="644565" y="32510"/>
                  <a:pt x="642946" y="33766"/>
                  <a:pt x="641626" y="35329"/>
                </a:cubicBezTo>
                <a:cubicBezTo>
                  <a:pt x="640305" y="36891"/>
                  <a:pt x="639291" y="38705"/>
                  <a:pt x="638584" y="40770"/>
                </a:cubicBezTo>
                <a:cubicBezTo>
                  <a:pt x="637877" y="42835"/>
                  <a:pt x="637468" y="44984"/>
                  <a:pt x="637356" y="47216"/>
                </a:cubicBezTo>
                <a:lnTo>
                  <a:pt x="668052" y="47216"/>
                </a:lnTo>
                <a:cubicBezTo>
                  <a:pt x="668163" y="41858"/>
                  <a:pt x="666936" y="37673"/>
                  <a:pt x="664368" y="34659"/>
                </a:cubicBezTo>
                <a:cubicBezTo>
                  <a:pt x="661801" y="31645"/>
                  <a:pt x="658062" y="30138"/>
                  <a:pt x="653150" y="30138"/>
                </a:cubicBezTo>
                <a:close/>
                <a:moveTo>
                  <a:pt x="594494" y="30138"/>
                </a:moveTo>
                <a:cubicBezTo>
                  <a:pt x="591926" y="30138"/>
                  <a:pt x="589731" y="30752"/>
                  <a:pt x="587908" y="31980"/>
                </a:cubicBezTo>
                <a:cubicBezTo>
                  <a:pt x="586085" y="33208"/>
                  <a:pt x="584596" y="34826"/>
                  <a:pt x="583443" y="36835"/>
                </a:cubicBezTo>
                <a:cubicBezTo>
                  <a:pt x="582290" y="38845"/>
                  <a:pt x="581452" y="41114"/>
                  <a:pt x="580932" y="43644"/>
                </a:cubicBezTo>
                <a:cubicBezTo>
                  <a:pt x="580411" y="46174"/>
                  <a:pt x="580150" y="48742"/>
                  <a:pt x="580150" y="51346"/>
                </a:cubicBezTo>
                <a:cubicBezTo>
                  <a:pt x="580150" y="54137"/>
                  <a:pt x="580373" y="56853"/>
                  <a:pt x="580820" y="59495"/>
                </a:cubicBezTo>
                <a:cubicBezTo>
                  <a:pt x="581266" y="62136"/>
                  <a:pt x="582029" y="64490"/>
                  <a:pt x="583108" y="66555"/>
                </a:cubicBezTo>
                <a:cubicBezTo>
                  <a:pt x="584187" y="68620"/>
                  <a:pt x="585620" y="70275"/>
                  <a:pt x="587406" y="71522"/>
                </a:cubicBezTo>
                <a:cubicBezTo>
                  <a:pt x="589191" y="72768"/>
                  <a:pt x="591424" y="73391"/>
                  <a:pt x="594103" y="73391"/>
                </a:cubicBezTo>
                <a:cubicBezTo>
                  <a:pt x="595442" y="73391"/>
                  <a:pt x="596745" y="73205"/>
                  <a:pt x="598010" y="72833"/>
                </a:cubicBezTo>
                <a:cubicBezTo>
                  <a:pt x="599275" y="72461"/>
                  <a:pt x="600577" y="71847"/>
                  <a:pt x="601916" y="70991"/>
                </a:cubicBezTo>
                <a:cubicBezTo>
                  <a:pt x="603256" y="70136"/>
                  <a:pt x="604642" y="69029"/>
                  <a:pt x="606074" y="67671"/>
                </a:cubicBezTo>
                <a:cubicBezTo>
                  <a:pt x="607507" y="66313"/>
                  <a:pt x="609041" y="64629"/>
                  <a:pt x="610679" y="62620"/>
                </a:cubicBezTo>
                <a:lnTo>
                  <a:pt x="610679" y="40575"/>
                </a:lnTo>
                <a:cubicBezTo>
                  <a:pt x="607888" y="37189"/>
                  <a:pt x="605200" y="34603"/>
                  <a:pt x="602614" y="32817"/>
                </a:cubicBezTo>
                <a:cubicBezTo>
                  <a:pt x="600028" y="31031"/>
                  <a:pt x="597321" y="30138"/>
                  <a:pt x="594494" y="30138"/>
                </a:cubicBezTo>
                <a:close/>
                <a:moveTo>
                  <a:pt x="789421" y="25059"/>
                </a:moveTo>
                <a:cubicBezTo>
                  <a:pt x="790091" y="25059"/>
                  <a:pt x="790640" y="25087"/>
                  <a:pt x="791068" y="25143"/>
                </a:cubicBezTo>
                <a:cubicBezTo>
                  <a:pt x="791495" y="25199"/>
                  <a:pt x="791830" y="25292"/>
                  <a:pt x="792072" y="25422"/>
                </a:cubicBezTo>
                <a:cubicBezTo>
                  <a:pt x="792314" y="25552"/>
                  <a:pt x="792491" y="25711"/>
                  <a:pt x="792602" y="25897"/>
                </a:cubicBezTo>
                <a:cubicBezTo>
                  <a:pt x="792714" y="26083"/>
                  <a:pt x="792770" y="26287"/>
                  <a:pt x="792770" y="26510"/>
                </a:cubicBezTo>
                <a:lnTo>
                  <a:pt x="792770" y="77019"/>
                </a:lnTo>
                <a:cubicBezTo>
                  <a:pt x="792770" y="77242"/>
                  <a:pt x="792714" y="77447"/>
                  <a:pt x="792602" y="77633"/>
                </a:cubicBezTo>
                <a:cubicBezTo>
                  <a:pt x="792491" y="77819"/>
                  <a:pt x="792314" y="77968"/>
                  <a:pt x="792072" y="78079"/>
                </a:cubicBezTo>
                <a:cubicBezTo>
                  <a:pt x="791830" y="78191"/>
                  <a:pt x="791495" y="78284"/>
                  <a:pt x="791068" y="78358"/>
                </a:cubicBezTo>
                <a:cubicBezTo>
                  <a:pt x="790640" y="78433"/>
                  <a:pt x="790091" y="78470"/>
                  <a:pt x="789421" y="78470"/>
                </a:cubicBezTo>
                <a:cubicBezTo>
                  <a:pt x="788789" y="78470"/>
                  <a:pt x="788258" y="78433"/>
                  <a:pt x="787831" y="78358"/>
                </a:cubicBezTo>
                <a:cubicBezTo>
                  <a:pt x="787403" y="78284"/>
                  <a:pt x="787059" y="78191"/>
                  <a:pt x="786798" y="78079"/>
                </a:cubicBezTo>
                <a:cubicBezTo>
                  <a:pt x="786538" y="77968"/>
                  <a:pt x="786361" y="77819"/>
                  <a:pt x="786268" y="77633"/>
                </a:cubicBezTo>
                <a:cubicBezTo>
                  <a:pt x="786175" y="77447"/>
                  <a:pt x="786128" y="77242"/>
                  <a:pt x="786128" y="77019"/>
                </a:cubicBezTo>
                <a:lnTo>
                  <a:pt x="786128" y="26510"/>
                </a:lnTo>
                <a:cubicBezTo>
                  <a:pt x="786128" y="26287"/>
                  <a:pt x="786175" y="26083"/>
                  <a:pt x="786268" y="25897"/>
                </a:cubicBezTo>
                <a:cubicBezTo>
                  <a:pt x="786361" y="25711"/>
                  <a:pt x="786538" y="25552"/>
                  <a:pt x="786798" y="25422"/>
                </a:cubicBezTo>
                <a:cubicBezTo>
                  <a:pt x="787059" y="25292"/>
                  <a:pt x="787403" y="25199"/>
                  <a:pt x="787831" y="25143"/>
                </a:cubicBezTo>
                <a:cubicBezTo>
                  <a:pt x="788258" y="25087"/>
                  <a:pt x="788789" y="25059"/>
                  <a:pt x="789421" y="25059"/>
                </a:cubicBezTo>
                <a:close/>
                <a:moveTo>
                  <a:pt x="551296" y="25059"/>
                </a:moveTo>
                <a:cubicBezTo>
                  <a:pt x="551966" y="25059"/>
                  <a:pt x="552515" y="25087"/>
                  <a:pt x="552943" y="25143"/>
                </a:cubicBezTo>
                <a:cubicBezTo>
                  <a:pt x="553370" y="25199"/>
                  <a:pt x="553705" y="25292"/>
                  <a:pt x="553947" y="25422"/>
                </a:cubicBezTo>
                <a:cubicBezTo>
                  <a:pt x="554189" y="25552"/>
                  <a:pt x="554366" y="25711"/>
                  <a:pt x="554477" y="25897"/>
                </a:cubicBezTo>
                <a:cubicBezTo>
                  <a:pt x="554589" y="26083"/>
                  <a:pt x="554645" y="26287"/>
                  <a:pt x="554645" y="26510"/>
                </a:cubicBezTo>
                <a:lnTo>
                  <a:pt x="554645" y="77019"/>
                </a:lnTo>
                <a:cubicBezTo>
                  <a:pt x="554645" y="77242"/>
                  <a:pt x="554589" y="77447"/>
                  <a:pt x="554477" y="77633"/>
                </a:cubicBezTo>
                <a:cubicBezTo>
                  <a:pt x="554366" y="77819"/>
                  <a:pt x="554189" y="77968"/>
                  <a:pt x="553947" y="78079"/>
                </a:cubicBezTo>
                <a:cubicBezTo>
                  <a:pt x="553705" y="78191"/>
                  <a:pt x="553370" y="78284"/>
                  <a:pt x="552943" y="78358"/>
                </a:cubicBezTo>
                <a:cubicBezTo>
                  <a:pt x="552515" y="78433"/>
                  <a:pt x="551966" y="78470"/>
                  <a:pt x="551296" y="78470"/>
                </a:cubicBezTo>
                <a:cubicBezTo>
                  <a:pt x="550664" y="78470"/>
                  <a:pt x="550133" y="78433"/>
                  <a:pt x="549706" y="78358"/>
                </a:cubicBezTo>
                <a:cubicBezTo>
                  <a:pt x="549278" y="78284"/>
                  <a:pt x="548933" y="78191"/>
                  <a:pt x="548673" y="78079"/>
                </a:cubicBezTo>
                <a:cubicBezTo>
                  <a:pt x="548413" y="77968"/>
                  <a:pt x="548236" y="77819"/>
                  <a:pt x="548143" y="77633"/>
                </a:cubicBezTo>
                <a:cubicBezTo>
                  <a:pt x="548050" y="77447"/>
                  <a:pt x="548003" y="77242"/>
                  <a:pt x="548003" y="77019"/>
                </a:cubicBezTo>
                <a:lnTo>
                  <a:pt x="548003" y="26510"/>
                </a:lnTo>
                <a:cubicBezTo>
                  <a:pt x="548003" y="26287"/>
                  <a:pt x="548050" y="26083"/>
                  <a:pt x="548143" y="25897"/>
                </a:cubicBezTo>
                <a:cubicBezTo>
                  <a:pt x="548236" y="25711"/>
                  <a:pt x="548413" y="25552"/>
                  <a:pt x="548673" y="25422"/>
                </a:cubicBezTo>
                <a:cubicBezTo>
                  <a:pt x="548933" y="25292"/>
                  <a:pt x="549278" y="25199"/>
                  <a:pt x="549706" y="25143"/>
                </a:cubicBezTo>
                <a:cubicBezTo>
                  <a:pt x="550133" y="25087"/>
                  <a:pt x="550664" y="25059"/>
                  <a:pt x="551296" y="25059"/>
                </a:cubicBezTo>
                <a:close/>
                <a:moveTo>
                  <a:pt x="267928" y="25059"/>
                </a:moveTo>
                <a:cubicBezTo>
                  <a:pt x="268746" y="25059"/>
                  <a:pt x="269397" y="25087"/>
                  <a:pt x="269881" y="25143"/>
                </a:cubicBezTo>
                <a:cubicBezTo>
                  <a:pt x="270365" y="25199"/>
                  <a:pt x="270746" y="25283"/>
                  <a:pt x="271025" y="25394"/>
                </a:cubicBezTo>
                <a:cubicBezTo>
                  <a:pt x="271304" y="25506"/>
                  <a:pt x="271509" y="25655"/>
                  <a:pt x="271639" y="25841"/>
                </a:cubicBezTo>
                <a:cubicBezTo>
                  <a:pt x="271769" y="26027"/>
                  <a:pt x="271890" y="26250"/>
                  <a:pt x="272002" y="26510"/>
                </a:cubicBezTo>
                <a:lnTo>
                  <a:pt x="287796" y="70601"/>
                </a:lnTo>
                <a:lnTo>
                  <a:pt x="288019" y="70601"/>
                </a:lnTo>
                <a:lnTo>
                  <a:pt x="303535" y="26510"/>
                </a:lnTo>
                <a:cubicBezTo>
                  <a:pt x="303721" y="25990"/>
                  <a:pt x="303972" y="25645"/>
                  <a:pt x="304288" y="25478"/>
                </a:cubicBezTo>
                <a:cubicBezTo>
                  <a:pt x="304604" y="25311"/>
                  <a:pt x="305023" y="25199"/>
                  <a:pt x="305544" y="25143"/>
                </a:cubicBezTo>
                <a:cubicBezTo>
                  <a:pt x="306065" y="25087"/>
                  <a:pt x="306697" y="25059"/>
                  <a:pt x="307442" y="25059"/>
                </a:cubicBezTo>
                <a:cubicBezTo>
                  <a:pt x="308148" y="25059"/>
                  <a:pt x="308734" y="25097"/>
                  <a:pt x="309200" y="25171"/>
                </a:cubicBezTo>
                <a:cubicBezTo>
                  <a:pt x="309665" y="25245"/>
                  <a:pt x="310009" y="25376"/>
                  <a:pt x="310232" y="25562"/>
                </a:cubicBezTo>
                <a:cubicBezTo>
                  <a:pt x="310455" y="25748"/>
                  <a:pt x="310567" y="25999"/>
                  <a:pt x="310567" y="26315"/>
                </a:cubicBezTo>
                <a:cubicBezTo>
                  <a:pt x="310567" y="26631"/>
                  <a:pt x="310474" y="27031"/>
                  <a:pt x="310288" y="27515"/>
                </a:cubicBezTo>
                <a:lnTo>
                  <a:pt x="291424" y="78135"/>
                </a:lnTo>
                <a:lnTo>
                  <a:pt x="284392" y="97055"/>
                </a:lnTo>
                <a:cubicBezTo>
                  <a:pt x="284206" y="97464"/>
                  <a:pt x="283815" y="97808"/>
                  <a:pt x="283220" y="98088"/>
                </a:cubicBezTo>
                <a:cubicBezTo>
                  <a:pt x="282624" y="98367"/>
                  <a:pt x="281676" y="98506"/>
                  <a:pt x="280373" y="98506"/>
                </a:cubicBezTo>
                <a:cubicBezTo>
                  <a:pt x="279704" y="98506"/>
                  <a:pt x="279146" y="98469"/>
                  <a:pt x="278699" y="98394"/>
                </a:cubicBezTo>
                <a:cubicBezTo>
                  <a:pt x="278253" y="98320"/>
                  <a:pt x="277908" y="98181"/>
                  <a:pt x="277667" y="97976"/>
                </a:cubicBezTo>
                <a:cubicBezTo>
                  <a:pt x="277425" y="97771"/>
                  <a:pt x="277285" y="97511"/>
                  <a:pt x="277248" y="97195"/>
                </a:cubicBezTo>
                <a:cubicBezTo>
                  <a:pt x="277211" y="96878"/>
                  <a:pt x="277285" y="96497"/>
                  <a:pt x="277471" y="96050"/>
                </a:cubicBezTo>
                <a:lnTo>
                  <a:pt x="284615" y="78135"/>
                </a:lnTo>
                <a:cubicBezTo>
                  <a:pt x="284317" y="78024"/>
                  <a:pt x="284057" y="77838"/>
                  <a:pt x="283834" y="77577"/>
                </a:cubicBezTo>
                <a:cubicBezTo>
                  <a:pt x="283610" y="77317"/>
                  <a:pt x="283462" y="77056"/>
                  <a:pt x="283387" y="76796"/>
                </a:cubicBezTo>
                <a:lnTo>
                  <a:pt x="265026" y="27515"/>
                </a:lnTo>
                <a:cubicBezTo>
                  <a:pt x="264840" y="26994"/>
                  <a:pt x="264746" y="26576"/>
                  <a:pt x="264746" y="26259"/>
                </a:cubicBezTo>
                <a:cubicBezTo>
                  <a:pt x="264746" y="25943"/>
                  <a:pt x="264849" y="25692"/>
                  <a:pt x="265053" y="25506"/>
                </a:cubicBezTo>
                <a:cubicBezTo>
                  <a:pt x="265258" y="25320"/>
                  <a:pt x="265593" y="25199"/>
                  <a:pt x="266058" y="25143"/>
                </a:cubicBezTo>
                <a:cubicBezTo>
                  <a:pt x="266523" y="25087"/>
                  <a:pt x="267146" y="25059"/>
                  <a:pt x="267928" y="25059"/>
                </a:cubicBezTo>
                <a:close/>
                <a:moveTo>
                  <a:pt x="132196" y="25059"/>
                </a:moveTo>
                <a:cubicBezTo>
                  <a:pt x="132866" y="25059"/>
                  <a:pt x="133415" y="25087"/>
                  <a:pt x="133843" y="25143"/>
                </a:cubicBezTo>
                <a:cubicBezTo>
                  <a:pt x="134271" y="25199"/>
                  <a:pt x="134606" y="25292"/>
                  <a:pt x="134847" y="25422"/>
                </a:cubicBezTo>
                <a:cubicBezTo>
                  <a:pt x="135089" y="25552"/>
                  <a:pt x="135266" y="25711"/>
                  <a:pt x="135378" y="25897"/>
                </a:cubicBezTo>
                <a:cubicBezTo>
                  <a:pt x="135489" y="26083"/>
                  <a:pt x="135545" y="26287"/>
                  <a:pt x="135545" y="26510"/>
                </a:cubicBezTo>
                <a:lnTo>
                  <a:pt x="135545" y="77019"/>
                </a:lnTo>
                <a:cubicBezTo>
                  <a:pt x="135545" y="77242"/>
                  <a:pt x="135489" y="77447"/>
                  <a:pt x="135378" y="77633"/>
                </a:cubicBezTo>
                <a:cubicBezTo>
                  <a:pt x="135266" y="77819"/>
                  <a:pt x="135089" y="77968"/>
                  <a:pt x="134847" y="78079"/>
                </a:cubicBezTo>
                <a:cubicBezTo>
                  <a:pt x="134606" y="78191"/>
                  <a:pt x="134271" y="78284"/>
                  <a:pt x="133843" y="78358"/>
                </a:cubicBezTo>
                <a:cubicBezTo>
                  <a:pt x="133415" y="78433"/>
                  <a:pt x="132866" y="78470"/>
                  <a:pt x="132196" y="78470"/>
                </a:cubicBezTo>
                <a:cubicBezTo>
                  <a:pt x="131564" y="78470"/>
                  <a:pt x="131034" y="78433"/>
                  <a:pt x="130606" y="78358"/>
                </a:cubicBezTo>
                <a:cubicBezTo>
                  <a:pt x="130178" y="78284"/>
                  <a:pt x="129834" y="78191"/>
                  <a:pt x="129573" y="78079"/>
                </a:cubicBezTo>
                <a:cubicBezTo>
                  <a:pt x="129313" y="77968"/>
                  <a:pt x="129136" y="77819"/>
                  <a:pt x="129043" y="77633"/>
                </a:cubicBezTo>
                <a:cubicBezTo>
                  <a:pt x="128950" y="77447"/>
                  <a:pt x="128904" y="77242"/>
                  <a:pt x="128904" y="77019"/>
                </a:cubicBezTo>
                <a:lnTo>
                  <a:pt x="128904" y="26510"/>
                </a:lnTo>
                <a:cubicBezTo>
                  <a:pt x="128904" y="26287"/>
                  <a:pt x="128950" y="26083"/>
                  <a:pt x="129043" y="25897"/>
                </a:cubicBezTo>
                <a:cubicBezTo>
                  <a:pt x="129136" y="25711"/>
                  <a:pt x="129313" y="25552"/>
                  <a:pt x="129573" y="25422"/>
                </a:cubicBezTo>
                <a:cubicBezTo>
                  <a:pt x="129834" y="25292"/>
                  <a:pt x="130178" y="25199"/>
                  <a:pt x="130606" y="25143"/>
                </a:cubicBezTo>
                <a:cubicBezTo>
                  <a:pt x="131034" y="25087"/>
                  <a:pt x="131564" y="25059"/>
                  <a:pt x="132196" y="25059"/>
                </a:cubicBezTo>
                <a:close/>
                <a:moveTo>
                  <a:pt x="831447" y="24446"/>
                </a:moveTo>
                <a:cubicBezTo>
                  <a:pt x="834907" y="24446"/>
                  <a:pt x="837827" y="24864"/>
                  <a:pt x="840209" y="25701"/>
                </a:cubicBezTo>
                <a:cubicBezTo>
                  <a:pt x="842590" y="26538"/>
                  <a:pt x="844515" y="27738"/>
                  <a:pt x="845985" y="29301"/>
                </a:cubicBezTo>
                <a:cubicBezTo>
                  <a:pt x="847455" y="30864"/>
                  <a:pt x="848506" y="32789"/>
                  <a:pt x="849138" y="35077"/>
                </a:cubicBezTo>
                <a:cubicBezTo>
                  <a:pt x="849771" y="37366"/>
                  <a:pt x="850087" y="39961"/>
                  <a:pt x="850087" y="42863"/>
                </a:cubicBezTo>
                <a:lnTo>
                  <a:pt x="850087" y="77019"/>
                </a:lnTo>
                <a:cubicBezTo>
                  <a:pt x="850087" y="77391"/>
                  <a:pt x="849966" y="77679"/>
                  <a:pt x="849724" y="77884"/>
                </a:cubicBezTo>
                <a:cubicBezTo>
                  <a:pt x="849483" y="78089"/>
                  <a:pt x="849166" y="78238"/>
                  <a:pt x="848776" y="78331"/>
                </a:cubicBezTo>
                <a:cubicBezTo>
                  <a:pt x="848385" y="78424"/>
                  <a:pt x="847855" y="78470"/>
                  <a:pt x="847185" y="78470"/>
                </a:cubicBezTo>
                <a:cubicBezTo>
                  <a:pt x="846553" y="78470"/>
                  <a:pt x="846013" y="78424"/>
                  <a:pt x="845567" y="78331"/>
                </a:cubicBezTo>
                <a:cubicBezTo>
                  <a:pt x="845120" y="78238"/>
                  <a:pt x="844776" y="78089"/>
                  <a:pt x="844534" y="77884"/>
                </a:cubicBezTo>
                <a:cubicBezTo>
                  <a:pt x="844292" y="77679"/>
                  <a:pt x="844171" y="77391"/>
                  <a:pt x="844171" y="77019"/>
                </a:cubicBezTo>
                <a:lnTo>
                  <a:pt x="844171" y="71382"/>
                </a:lnTo>
                <a:cubicBezTo>
                  <a:pt x="841902" y="73838"/>
                  <a:pt x="839399" y="75735"/>
                  <a:pt x="836665" y="77075"/>
                </a:cubicBezTo>
                <a:cubicBezTo>
                  <a:pt x="833930" y="78414"/>
                  <a:pt x="831093" y="79084"/>
                  <a:pt x="828154" y="79084"/>
                </a:cubicBezTo>
                <a:cubicBezTo>
                  <a:pt x="825512" y="79084"/>
                  <a:pt x="823140" y="78740"/>
                  <a:pt x="821038" y="78052"/>
                </a:cubicBezTo>
                <a:cubicBezTo>
                  <a:pt x="818936" y="77363"/>
                  <a:pt x="817159" y="76377"/>
                  <a:pt x="815708" y="75094"/>
                </a:cubicBezTo>
                <a:cubicBezTo>
                  <a:pt x="814257" y="73810"/>
                  <a:pt x="813141" y="72257"/>
                  <a:pt x="812359" y="70433"/>
                </a:cubicBezTo>
                <a:cubicBezTo>
                  <a:pt x="811578" y="68610"/>
                  <a:pt x="811187" y="66564"/>
                  <a:pt x="811187" y="64294"/>
                </a:cubicBezTo>
                <a:cubicBezTo>
                  <a:pt x="811187" y="61504"/>
                  <a:pt x="811764" y="59076"/>
                  <a:pt x="812917" y="57011"/>
                </a:cubicBezTo>
                <a:cubicBezTo>
                  <a:pt x="814071" y="54946"/>
                  <a:pt x="815708" y="53225"/>
                  <a:pt x="817829" y="51848"/>
                </a:cubicBezTo>
                <a:cubicBezTo>
                  <a:pt x="819950" y="50472"/>
                  <a:pt x="822498" y="49439"/>
                  <a:pt x="825475" y="48751"/>
                </a:cubicBezTo>
                <a:cubicBezTo>
                  <a:pt x="828451" y="48063"/>
                  <a:pt x="831763" y="47718"/>
                  <a:pt x="835409" y="47718"/>
                </a:cubicBezTo>
                <a:lnTo>
                  <a:pt x="843446" y="47718"/>
                </a:lnTo>
                <a:lnTo>
                  <a:pt x="843446" y="43365"/>
                </a:lnTo>
                <a:cubicBezTo>
                  <a:pt x="843446" y="41207"/>
                  <a:pt x="843223" y="39300"/>
                  <a:pt x="842776" y="37645"/>
                </a:cubicBezTo>
                <a:cubicBezTo>
                  <a:pt x="842330" y="35989"/>
                  <a:pt x="841604" y="34603"/>
                  <a:pt x="840599" y="33487"/>
                </a:cubicBezTo>
                <a:cubicBezTo>
                  <a:pt x="839595" y="32371"/>
                  <a:pt x="838293" y="31533"/>
                  <a:pt x="836693" y="30975"/>
                </a:cubicBezTo>
                <a:cubicBezTo>
                  <a:pt x="835093" y="30417"/>
                  <a:pt x="833139" y="30138"/>
                  <a:pt x="830833" y="30138"/>
                </a:cubicBezTo>
                <a:cubicBezTo>
                  <a:pt x="828600" y="30138"/>
                  <a:pt x="826591" y="30408"/>
                  <a:pt x="824805" y="30947"/>
                </a:cubicBezTo>
                <a:cubicBezTo>
                  <a:pt x="823019" y="31487"/>
                  <a:pt x="821456" y="32092"/>
                  <a:pt x="820117" y="32761"/>
                </a:cubicBezTo>
                <a:cubicBezTo>
                  <a:pt x="818777" y="33431"/>
                  <a:pt x="817671" y="34036"/>
                  <a:pt x="816796" y="34575"/>
                </a:cubicBezTo>
                <a:cubicBezTo>
                  <a:pt x="815922" y="35115"/>
                  <a:pt x="815299" y="35384"/>
                  <a:pt x="814927" y="35384"/>
                </a:cubicBezTo>
                <a:cubicBezTo>
                  <a:pt x="814703" y="35384"/>
                  <a:pt x="814499" y="35347"/>
                  <a:pt x="814313" y="35273"/>
                </a:cubicBezTo>
                <a:cubicBezTo>
                  <a:pt x="814127" y="35198"/>
                  <a:pt x="813969" y="35059"/>
                  <a:pt x="813838" y="34854"/>
                </a:cubicBezTo>
                <a:cubicBezTo>
                  <a:pt x="813708" y="34650"/>
                  <a:pt x="813615" y="34389"/>
                  <a:pt x="813559" y="34073"/>
                </a:cubicBezTo>
                <a:cubicBezTo>
                  <a:pt x="813503" y="33757"/>
                  <a:pt x="813475" y="33375"/>
                  <a:pt x="813475" y="32929"/>
                </a:cubicBezTo>
                <a:cubicBezTo>
                  <a:pt x="813475" y="32147"/>
                  <a:pt x="813531" y="31524"/>
                  <a:pt x="813643" y="31059"/>
                </a:cubicBezTo>
                <a:cubicBezTo>
                  <a:pt x="813755" y="30594"/>
                  <a:pt x="814043" y="30129"/>
                  <a:pt x="814508" y="29664"/>
                </a:cubicBezTo>
                <a:cubicBezTo>
                  <a:pt x="814973" y="29199"/>
                  <a:pt x="815801" y="28650"/>
                  <a:pt x="816992" y="28017"/>
                </a:cubicBezTo>
                <a:cubicBezTo>
                  <a:pt x="818182" y="27385"/>
                  <a:pt x="819550" y="26799"/>
                  <a:pt x="821094" y="26259"/>
                </a:cubicBezTo>
                <a:cubicBezTo>
                  <a:pt x="822638" y="25720"/>
                  <a:pt x="824303" y="25283"/>
                  <a:pt x="826089" y="24948"/>
                </a:cubicBezTo>
                <a:cubicBezTo>
                  <a:pt x="827875" y="24613"/>
                  <a:pt x="829661" y="24446"/>
                  <a:pt x="831447" y="24446"/>
                </a:cubicBezTo>
                <a:close/>
                <a:moveTo>
                  <a:pt x="714040" y="24446"/>
                </a:moveTo>
                <a:cubicBezTo>
                  <a:pt x="717351" y="24446"/>
                  <a:pt x="720142" y="25004"/>
                  <a:pt x="722411" y="26120"/>
                </a:cubicBezTo>
                <a:cubicBezTo>
                  <a:pt x="724681" y="27236"/>
                  <a:pt x="726513" y="28743"/>
                  <a:pt x="727909" y="30640"/>
                </a:cubicBezTo>
                <a:cubicBezTo>
                  <a:pt x="729304" y="32538"/>
                  <a:pt x="730309" y="34752"/>
                  <a:pt x="730922" y="37282"/>
                </a:cubicBezTo>
                <a:cubicBezTo>
                  <a:pt x="731536" y="39812"/>
                  <a:pt x="731843" y="42863"/>
                  <a:pt x="731843" y="46435"/>
                </a:cubicBezTo>
                <a:lnTo>
                  <a:pt x="731843" y="77019"/>
                </a:lnTo>
                <a:cubicBezTo>
                  <a:pt x="731843" y="77242"/>
                  <a:pt x="731787" y="77447"/>
                  <a:pt x="731676" y="77633"/>
                </a:cubicBezTo>
                <a:cubicBezTo>
                  <a:pt x="731564" y="77819"/>
                  <a:pt x="731387" y="77968"/>
                  <a:pt x="731146" y="78079"/>
                </a:cubicBezTo>
                <a:cubicBezTo>
                  <a:pt x="730904" y="78191"/>
                  <a:pt x="730569" y="78284"/>
                  <a:pt x="730141" y="78358"/>
                </a:cubicBezTo>
                <a:cubicBezTo>
                  <a:pt x="729713" y="78433"/>
                  <a:pt x="729183" y="78470"/>
                  <a:pt x="728550" y="78470"/>
                </a:cubicBezTo>
                <a:cubicBezTo>
                  <a:pt x="727881" y="78470"/>
                  <a:pt x="727332" y="78433"/>
                  <a:pt x="726904" y="78358"/>
                </a:cubicBezTo>
                <a:cubicBezTo>
                  <a:pt x="726476" y="78284"/>
                  <a:pt x="726141" y="78191"/>
                  <a:pt x="725899" y="78079"/>
                </a:cubicBezTo>
                <a:cubicBezTo>
                  <a:pt x="725658" y="77968"/>
                  <a:pt x="725481" y="77819"/>
                  <a:pt x="725369" y="77633"/>
                </a:cubicBezTo>
                <a:cubicBezTo>
                  <a:pt x="725258" y="77447"/>
                  <a:pt x="725202" y="77242"/>
                  <a:pt x="725202" y="77019"/>
                </a:cubicBezTo>
                <a:lnTo>
                  <a:pt x="725202" y="47049"/>
                </a:lnTo>
                <a:cubicBezTo>
                  <a:pt x="725202" y="43923"/>
                  <a:pt x="724960" y="41384"/>
                  <a:pt x="724476" y="39431"/>
                </a:cubicBezTo>
                <a:cubicBezTo>
                  <a:pt x="723993" y="37477"/>
                  <a:pt x="723267" y="35803"/>
                  <a:pt x="722300" y="34408"/>
                </a:cubicBezTo>
                <a:cubicBezTo>
                  <a:pt x="721332" y="33012"/>
                  <a:pt x="720095" y="31933"/>
                  <a:pt x="718588" y="31171"/>
                </a:cubicBezTo>
                <a:cubicBezTo>
                  <a:pt x="717081" y="30408"/>
                  <a:pt x="715323" y="30027"/>
                  <a:pt x="713314" y="30027"/>
                </a:cubicBezTo>
                <a:cubicBezTo>
                  <a:pt x="710747" y="30027"/>
                  <a:pt x="708180" y="30938"/>
                  <a:pt x="705612" y="32761"/>
                </a:cubicBezTo>
                <a:cubicBezTo>
                  <a:pt x="703045" y="34584"/>
                  <a:pt x="700348" y="37263"/>
                  <a:pt x="697520" y="40798"/>
                </a:cubicBezTo>
                <a:lnTo>
                  <a:pt x="697520" y="77019"/>
                </a:lnTo>
                <a:cubicBezTo>
                  <a:pt x="697520" y="77242"/>
                  <a:pt x="697464" y="77447"/>
                  <a:pt x="697352" y="77633"/>
                </a:cubicBezTo>
                <a:cubicBezTo>
                  <a:pt x="697241" y="77819"/>
                  <a:pt x="697064" y="77968"/>
                  <a:pt x="696822" y="78079"/>
                </a:cubicBezTo>
                <a:cubicBezTo>
                  <a:pt x="696580" y="78191"/>
                  <a:pt x="696245" y="78284"/>
                  <a:pt x="695818" y="78358"/>
                </a:cubicBezTo>
                <a:cubicBezTo>
                  <a:pt x="695390" y="78433"/>
                  <a:pt x="694841" y="78470"/>
                  <a:pt x="694171" y="78470"/>
                </a:cubicBezTo>
                <a:cubicBezTo>
                  <a:pt x="693539" y="78470"/>
                  <a:pt x="693008" y="78433"/>
                  <a:pt x="692581" y="78358"/>
                </a:cubicBezTo>
                <a:cubicBezTo>
                  <a:pt x="692153" y="78284"/>
                  <a:pt x="691809" y="78191"/>
                  <a:pt x="691548" y="78079"/>
                </a:cubicBezTo>
                <a:cubicBezTo>
                  <a:pt x="691288" y="77968"/>
                  <a:pt x="691111" y="77819"/>
                  <a:pt x="691018" y="77633"/>
                </a:cubicBezTo>
                <a:cubicBezTo>
                  <a:pt x="690925" y="77447"/>
                  <a:pt x="690878" y="77242"/>
                  <a:pt x="690878" y="77019"/>
                </a:cubicBezTo>
                <a:lnTo>
                  <a:pt x="690878" y="26510"/>
                </a:lnTo>
                <a:cubicBezTo>
                  <a:pt x="690878" y="26287"/>
                  <a:pt x="690925" y="26083"/>
                  <a:pt x="691018" y="25897"/>
                </a:cubicBezTo>
                <a:cubicBezTo>
                  <a:pt x="691111" y="25711"/>
                  <a:pt x="691288" y="25552"/>
                  <a:pt x="691548" y="25422"/>
                </a:cubicBezTo>
                <a:cubicBezTo>
                  <a:pt x="691809" y="25292"/>
                  <a:pt x="692134" y="25199"/>
                  <a:pt x="692525" y="25143"/>
                </a:cubicBezTo>
                <a:cubicBezTo>
                  <a:pt x="692915" y="25087"/>
                  <a:pt x="693427" y="25059"/>
                  <a:pt x="694060" y="25059"/>
                </a:cubicBezTo>
                <a:cubicBezTo>
                  <a:pt x="694692" y="25059"/>
                  <a:pt x="695213" y="25087"/>
                  <a:pt x="695622" y="25143"/>
                </a:cubicBezTo>
                <a:cubicBezTo>
                  <a:pt x="696031" y="25199"/>
                  <a:pt x="696348" y="25292"/>
                  <a:pt x="696571" y="25422"/>
                </a:cubicBezTo>
                <a:cubicBezTo>
                  <a:pt x="696794" y="25552"/>
                  <a:pt x="696952" y="25711"/>
                  <a:pt x="697045" y="25897"/>
                </a:cubicBezTo>
                <a:cubicBezTo>
                  <a:pt x="697138" y="26083"/>
                  <a:pt x="697185" y="26287"/>
                  <a:pt x="697185" y="26510"/>
                </a:cubicBezTo>
                <a:lnTo>
                  <a:pt x="697185" y="33654"/>
                </a:lnTo>
                <a:cubicBezTo>
                  <a:pt x="700087" y="30417"/>
                  <a:pt x="702933" y="28073"/>
                  <a:pt x="705724" y="26622"/>
                </a:cubicBezTo>
                <a:cubicBezTo>
                  <a:pt x="708515" y="25171"/>
                  <a:pt x="711286" y="24446"/>
                  <a:pt x="714040" y="24446"/>
                </a:cubicBezTo>
                <a:close/>
                <a:moveTo>
                  <a:pt x="653597" y="24446"/>
                </a:moveTo>
                <a:cubicBezTo>
                  <a:pt x="657392" y="24446"/>
                  <a:pt x="660629" y="25078"/>
                  <a:pt x="663308" y="26343"/>
                </a:cubicBezTo>
                <a:cubicBezTo>
                  <a:pt x="665987" y="27608"/>
                  <a:pt x="668191" y="29310"/>
                  <a:pt x="669921" y="31450"/>
                </a:cubicBezTo>
                <a:cubicBezTo>
                  <a:pt x="671652" y="33589"/>
                  <a:pt x="672917" y="36073"/>
                  <a:pt x="673717" y="38900"/>
                </a:cubicBezTo>
                <a:cubicBezTo>
                  <a:pt x="674517" y="41728"/>
                  <a:pt x="674917" y="44705"/>
                  <a:pt x="674917" y="47830"/>
                </a:cubicBezTo>
                <a:lnTo>
                  <a:pt x="674917" y="49170"/>
                </a:lnTo>
                <a:cubicBezTo>
                  <a:pt x="674917" y="50509"/>
                  <a:pt x="674563" y="51430"/>
                  <a:pt x="673856" y="51932"/>
                </a:cubicBezTo>
                <a:cubicBezTo>
                  <a:pt x="673149" y="52434"/>
                  <a:pt x="672461" y="52686"/>
                  <a:pt x="671791" y="52686"/>
                </a:cubicBezTo>
                <a:lnTo>
                  <a:pt x="637356" y="52686"/>
                </a:lnTo>
                <a:cubicBezTo>
                  <a:pt x="637356" y="55811"/>
                  <a:pt x="637663" y="58639"/>
                  <a:pt x="638277" y="61169"/>
                </a:cubicBezTo>
                <a:cubicBezTo>
                  <a:pt x="638891" y="63699"/>
                  <a:pt x="639905" y="65866"/>
                  <a:pt x="641319" y="67671"/>
                </a:cubicBezTo>
                <a:cubicBezTo>
                  <a:pt x="642732" y="69475"/>
                  <a:pt x="644574" y="70861"/>
                  <a:pt x="646844" y="71829"/>
                </a:cubicBezTo>
                <a:cubicBezTo>
                  <a:pt x="649113" y="72796"/>
                  <a:pt x="651904" y="73280"/>
                  <a:pt x="655215" y="73280"/>
                </a:cubicBezTo>
                <a:cubicBezTo>
                  <a:pt x="657559" y="73280"/>
                  <a:pt x="659662" y="73075"/>
                  <a:pt x="661522" y="72666"/>
                </a:cubicBezTo>
                <a:cubicBezTo>
                  <a:pt x="663382" y="72257"/>
                  <a:pt x="664992" y="71801"/>
                  <a:pt x="666350" y="71298"/>
                </a:cubicBezTo>
                <a:cubicBezTo>
                  <a:pt x="667708" y="70796"/>
                  <a:pt x="668824" y="70340"/>
                  <a:pt x="669698" y="69931"/>
                </a:cubicBezTo>
                <a:cubicBezTo>
                  <a:pt x="670573" y="69522"/>
                  <a:pt x="671196" y="69317"/>
                  <a:pt x="671568" y="69317"/>
                </a:cubicBezTo>
                <a:cubicBezTo>
                  <a:pt x="671791" y="69317"/>
                  <a:pt x="671996" y="69373"/>
                  <a:pt x="672182" y="69485"/>
                </a:cubicBezTo>
                <a:cubicBezTo>
                  <a:pt x="672368" y="69596"/>
                  <a:pt x="672517" y="69773"/>
                  <a:pt x="672628" y="70015"/>
                </a:cubicBezTo>
                <a:cubicBezTo>
                  <a:pt x="672740" y="70257"/>
                  <a:pt x="672824" y="70564"/>
                  <a:pt x="672879" y="70936"/>
                </a:cubicBezTo>
                <a:cubicBezTo>
                  <a:pt x="672935" y="71308"/>
                  <a:pt x="672963" y="71773"/>
                  <a:pt x="672963" y="72331"/>
                </a:cubicBezTo>
                <a:cubicBezTo>
                  <a:pt x="672963" y="72591"/>
                  <a:pt x="672945" y="72843"/>
                  <a:pt x="672907" y="73084"/>
                </a:cubicBezTo>
                <a:cubicBezTo>
                  <a:pt x="672870" y="73326"/>
                  <a:pt x="672824" y="73549"/>
                  <a:pt x="672768" y="73754"/>
                </a:cubicBezTo>
                <a:cubicBezTo>
                  <a:pt x="672712" y="73959"/>
                  <a:pt x="672628" y="74154"/>
                  <a:pt x="672517" y="74340"/>
                </a:cubicBezTo>
                <a:cubicBezTo>
                  <a:pt x="672405" y="74526"/>
                  <a:pt x="672256" y="74712"/>
                  <a:pt x="672070" y="74898"/>
                </a:cubicBezTo>
                <a:cubicBezTo>
                  <a:pt x="671884" y="75084"/>
                  <a:pt x="671307" y="75410"/>
                  <a:pt x="670340" y="75875"/>
                </a:cubicBezTo>
                <a:cubicBezTo>
                  <a:pt x="669373" y="76340"/>
                  <a:pt x="668108" y="76805"/>
                  <a:pt x="666545" y="77270"/>
                </a:cubicBezTo>
                <a:cubicBezTo>
                  <a:pt x="664982" y="77735"/>
                  <a:pt x="663168" y="78154"/>
                  <a:pt x="661103" y="78526"/>
                </a:cubicBezTo>
                <a:cubicBezTo>
                  <a:pt x="659038" y="78898"/>
                  <a:pt x="656815" y="79084"/>
                  <a:pt x="654434" y="79084"/>
                </a:cubicBezTo>
                <a:cubicBezTo>
                  <a:pt x="650527" y="79084"/>
                  <a:pt x="647067" y="78498"/>
                  <a:pt x="644053" y="77326"/>
                </a:cubicBezTo>
                <a:cubicBezTo>
                  <a:pt x="641039" y="76154"/>
                  <a:pt x="638509" y="74424"/>
                  <a:pt x="636463" y="72136"/>
                </a:cubicBezTo>
                <a:cubicBezTo>
                  <a:pt x="634417" y="69847"/>
                  <a:pt x="632863" y="67010"/>
                  <a:pt x="631803" y="63625"/>
                </a:cubicBezTo>
                <a:cubicBezTo>
                  <a:pt x="630743" y="60239"/>
                  <a:pt x="630212" y="56313"/>
                  <a:pt x="630212" y="51848"/>
                </a:cubicBezTo>
                <a:cubicBezTo>
                  <a:pt x="630212" y="47570"/>
                  <a:pt x="630761" y="43737"/>
                  <a:pt x="631859" y="40352"/>
                </a:cubicBezTo>
                <a:cubicBezTo>
                  <a:pt x="632956" y="36966"/>
                  <a:pt x="634528" y="34091"/>
                  <a:pt x="636575" y="31729"/>
                </a:cubicBezTo>
                <a:cubicBezTo>
                  <a:pt x="638621" y="29366"/>
                  <a:pt x="641086" y="27562"/>
                  <a:pt x="643970" y="26315"/>
                </a:cubicBezTo>
                <a:cubicBezTo>
                  <a:pt x="646853" y="25069"/>
                  <a:pt x="650062" y="24446"/>
                  <a:pt x="653597" y="24446"/>
                </a:cubicBezTo>
                <a:close/>
                <a:moveTo>
                  <a:pt x="475915" y="24446"/>
                </a:moveTo>
                <a:cubicBezTo>
                  <a:pt x="479226" y="24446"/>
                  <a:pt x="482017" y="25004"/>
                  <a:pt x="484286" y="26120"/>
                </a:cubicBezTo>
                <a:cubicBezTo>
                  <a:pt x="486556" y="27236"/>
                  <a:pt x="488388" y="28743"/>
                  <a:pt x="489784" y="30640"/>
                </a:cubicBezTo>
                <a:cubicBezTo>
                  <a:pt x="491179" y="32538"/>
                  <a:pt x="492183" y="34752"/>
                  <a:pt x="492797" y="37282"/>
                </a:cubicBezTo>
                <a:cubicBezTo>
                  <a:pt x="493411" y="39812"/>
                  <a:pt x="493718" y="42863"/>
                  <a:pt x="493718" y="46435"/>
                </a:cubicBezTo>
                <a:lnTo>
                  <a:pt x="493718" y="77019"/>
                </a:lnTo>
                <a:cubicBezTo>
                  <a:pt x="493718" y="77242"/>
                  <a:pt x="493663" y="77447"/>
                  <a:pt x="493551" y="77633"/>
                </a:cubicBezTo>
                <a:cubicBezTo>
                  <a:pt x="493439" y="77819"/>
                  <a:pt x="493263" y="77968"/>
                  <a:pt x="493021" y="78079"/>
                </a:cubicBezTo>
                <a:cubicBezTo>
                  <a:pt x="492779" y="78191"/>
                  <a:pt x="492444" y="78284"/>
                  <a:pt x="492016" y="78358"/>
                </a:cubicBezTo>
                <a:cubicBezTo>
                  <a:pt x="491588" y="78433"/>
                  <a:pt x="491058" y="78470"/>
                  <a:pt x="490425" y="78470"/>
                </a:cubicBezTo>
                <a:cubicBezTo>
                  <a:pt x="489756" y="78470"/>
                  <a:pt x="489207" y="78433"/>
                  <a:pt x="488779" y="78358"/>
                </a:cubicBezTo>
                <a:cubicBezTo>
                  <a:pt x="488351" y="78284"/>
                  <a:pt x="488016" y="78191"/>
                  <a:pt x="487774" y="78079"/>
                </a:cubicBezTo>
                <a:cubicBezTo>
                  <a:pt x="487533" y="77968"/>
                  <a:pt x="487356" y="77819"/>
                  <a:pt x="487244" y="77633"/>
                </a:cubicBezTo>
                <a:cubicBezTo>
                  <a:pt x="487133" y="77447"/>
                  <a:pt x="487077" y="77242"/>
                  <a:pt x="487077" y="77019"/>
                </a:cubicBezTo>
                <a:lnTo>
                  <a:pt x="487077" y="47049"/>
                </a:lnTo>
                <a:cubicBezTo>
                  <a:pt x="487077" y="43923"/>
                  <a:pt x="486835" y="41384"/>
                  <a:pt x="486351" y="39431"/>
                </a:cubicBezTo>
                <a:cubicBezTo>
                  <a:pt x="485868" y="37477"/>
                  <a:pt x="485142" y="35803"/>
                  <a:pt x="484175" y="34408"/>
                </a:cubicBezTo>
                <a:cubicBezTo>
                  <a:pt x="483207" y="33012"/>
                  <a:pt x="481970" y="31933"/>
                  <a:pt x="480463" y="31171"/>
                </a:cubicBezTo>
                <a:cubicBezTo>
                  <a:pt x="478956" y="30408"/>
                  <a:pt x="477198" y="30027"/>
                  <a:pt x="475189" y="30027"/>
                </a:cubicBezTo>
                <a:cubicBezTo>
                  <a:pt x="472622" y="30027"/>
                  <a:pt x="470055" y="30938"/>
                  <a:pt x="467487" y="32761"/>
                </a:cubicBezTo>
                <a:cubicBezTo>
                  <a:pt x="464920" y="34584"/>
                  <a:pt x="462223" y="37263"/>
                  <a:pt x="459395" y="40798"/>
                </a:cubicBezTo>
                <a:lnTo>
                  <a:pt x="459395" y="77019"/>
                </a:lnTo>
                <a:cubicBezTo>
                  <a:pt x="459395" y="77242"/>
                  <a:pt x="459339" y="77447"/>
                  <a:pt x="459227" y="77633"/>
                </a:cubicBezTo>
                <a:cubicBezTo>
                  <a:pt x="459116" y="77819"/>
                  <a:pt x="458939" y="77968"/>
                  <a:pt x="458697" y="78079"/>
                </a:cubicBezTo>
                <a:cubicBezTo>
                  <a:pt x="458455" y="78191"/>
                  <a:pt x="458120" y="78284"/>
                  <a:pt x="457693" y="78358"/>
                </a:cubicBezTo>
                <a:cubicBezTo>
                  <a:pt x="457265" y="78433"/>
                  <a:pt x="456716" y="78470"/>
                  <a:pt x="456046" y="78470"/>
                </a:cubicBezTo>
                <a:cubicBezTo>
                  <a:pt x="455414" y="78470"/>
                  <a:pt x="454883" y="78433"/>
                  <a:pt x="454456" y="78358"/>
                </a:cubicBezTo>
                <a:cubicBezTo>
                  <a:pt x="454028" y="78284"/>
                  <a:pt x="453683" y="78191"/>
                  <a:pt x="453423" y="78079"/>
                </a:cubicBezTo>
                <a:cubicBezTo>
                  <a:pt x="453163" y="77968"/>
                  <a:pt x="452986" y="77819"/>
                  <a:pt x="452893" y="77633"/>
                </a:cubicBezTo>
                <a:cubicBezTo>
                  <a:pt x="452800" y="77447"/>
                  <a:pt x="452753" y="77242"/>
                  <a:pt x="452753" y="77019"/>
                </a:cubicBezTo>
                <a:lnTo>
                  <a:pt x="452753" y="26510"/>
                </a:lnTo>
                <a:cubicBezTo>
                  <a:pt x="452753" y="26287"/>
                  <a:pt x="452800" y="26083"/>
                  <a:pt x="452893" y="25897"/>
                </a:cubicBezTo>
                <a:cubicBezTo>
                  <a:pt x="452986" y="25711"/>
                  <a:pt x="453163" y="25552"/>
                  <a:pt x="453423" y="25422"/>
                </a:cubicBezTo>
                <a:cubicBezTo>
                  <a:pt x="453683" y="25292"/>
                  <a:pt x="454009" y="25199"/>
                  <a:pt x="454400" y="25143"/>
                </a:cubicBezTo>
                <a:cubicBezTo>
                  <a:pt x="454790" y="25087"/>
                  <a:pt x="455302" y="25059"/>
                  <a:pt x="455935" y="25059"/>
                </a:cubicBezTo>
                <a:cubicBezTo>
                  <a:pt x="456567" y="25059"/>
                  <a:pt x="457088" y="25087"/>
                  <a:pt x="457497" y="25143"/>
                </a:cubicBezTo>
                <a:cubicBezTo>
                  <a:pt x="457907" y="25199"/>
                  <a:pt x="458223" y="25292"/>
                  <a:pt x="458446" y="25422"/>
                </a:cubicBezTo>
                <a:cubicBezTo>
                  <a:pt x="458669" y="25552"/>
                  <a:pt x="458827" y="25711"/>
                  <a:pt x="458920" y="25897"/>
                </a:cubicBezTo>
                <a:cubicBezTo>
                  <a:pt x="459013" y="26083"/>
                  <a:pt x="459060" y="26287"/>
                  <a:pt x="459060" y="26510"/>
                </a:cubicBezTo>
                <a:lnTo>
                  <a:pt x="459060" y="33654"/>
                </a:lnTo>
                <a:cubicBezTo>
                  <a:pt x="461962" y="30417"/>
                  <a:pt x="464808" y="28073"/>
                  <a:pt x="467599" y="26622"/>
                </a:cubicBezTo>
                <a:cubicBezTo>
                  <a:pt x="470389" y="25171"/>
                  <a:pt x="473161" y="24446"/>
                  <a:pt x="475915" y="24446"/>
                </a:cubicBezTo>
                <a:close/>
                <a:moveTo>
                  <a:pt x="416588" y="24446"/>
                </a:moveTo>
                <a:cubicBezTo>
                  <a:pt x="420532" y="24446"/>
                  <a:pt x="423983" y="25059"/>
                  <a:pt x="426941" y="26287"/>
                </a:cubicBezTo>
                <a:cubicBezTo>
                  <a:pt x="429899" y="27515"/>
                  <a:pt x="432364" y="29292"/>
                  <a:pt x="434336" y="31617"/>
                </a:cubicBezTo>
                <a:cubicBezTo>
                  <a:pt x="436308" y="33943"/>
                  <a:pt x="437796" y="36761"/>
                  <a:pt x="438801" y="40072"/>
                </a:cubicBezTo>
                <a:cubicBezTo>
                  <a:pt x="439805" y="43384"/>
                  <a:pt x="440308" y="47105"/>
                  <a:pt x="440308" y="51235"/>
                </a:cubicBezTo>
                <a:cubicBezTo>
                  <a:pt x="440308" y="55253"/>
                  <a:pt x="439787" y="58955"/>
                  <a:pt x="438745" y="62341"/>
                </a:cubicBezTo>
                <a:cubicBezTo>
                  <a:pt x="437703" y="65727"/>
                  <a:pt x="436150" y="68666"/>
                  <a:pt x="434085" y="71159"/>
                </a:cubicBezTo>
                <a:cubicBezTo>
                  <a:pt x="432020" y="73652"/>
                  <a:pt x="429443" y="75596"/>
                  <a:pt x="426355" y="76991"/>
                </a:cubicBezTo>
                <a:cubicBezTo>
                  <a:pt x="423267" y="78386"/>
                  <a:pt x="419676" y="79084"/>
                  <a:pt x="415584" y="79084"/>
                </a:cubicBezTo>
                <a:cubicBezTo>
                  <a:pt x="411640" y="79084"/>
                  <a:pt x="408189" y="78461"/>
                  <a:pt x="405231" y="77214"/>
                </a:cubicBezTo>
                <a:cubicBezTo>
                  <a:pt x="402273" y="75968"/>
                  <a:pt x="399798" y="74182"/>
                  <a:pt x="397808" y="71857"/>
                </a:cubicBezTo>
                <a:cubicBezTo>
                  <a:pt x="395817" y="69531"/>
                  <a:pt x="394329" y="66713"/>
                  <a:pt x="393343" y="63401"/>
                </a:cubicBezTo>
                <a:cubicBezTo>
                  <a:pt x="392357" y="60090"/>
                  <a:pt x="391864" y="56351"/>
                  <a:pt x="391864" y="52183"/>
                </a:cubicBezTo>
                <a:cubicBezTo>
                  <a:pt x="391864" y="48165"/>
                  <a:pt x="392376" y="44463"/>
                  <a:pt x="393399" y="41077"/>
                </a:cubicBezTo>
                <a:cubicBezTo>
                  <a:pt x="394422" y="37691"/>
                  <a:pt x="395966" y="34761"/>
                  <a:pt x="398031" y="32287"/>
                </a:cubicBezTo>
                <a:cubicBezTo>
                  <a:pt x="400096" y="29813"/>
                  <a:pt x="402673" y="27887"/>
                  <a:pt x="405761" y="26510"/>
                </a:cubicBezTo>
                <a:cubicBezTo>
                  <a:pt x="408849" y="25134"/>
                  <a:pt x="412458" y="24446"/>
                  <a:pt x="416588" y="24446"/>
                </a:cubicBezTo>
                <a:close/>
                <a:moveTo>
                  <a:pt x="366787" y="24446"/>
                </a:moveTo>
                <a:cubicBezTo>
                  <a:pt x="368461" y="24446"/>
                  <a:pt x="370061" y="24604"/>
                  <a:pt x="371586" y="24920"/>
                </a:cubicBezTo>
                <a:cubicBezTo>
                  <a:pt x="373112" y="25236"/>
                  <a:pt x="374516" y="25655"/>
                  <a:pt x="375800" y="26176"/>
                </a:cubicBezTo>
                <a:cubicBezTo>
                  <a:pt x="377084" y="26697"/>
                  <a:pt x="378228" y="27292"/>
                  <a:pt x="379232" y="27962"/>
                </a:cubicBezTo>
                <a:cubicBezTo>
                  <a:pt x="380237" y="28631"/>
                  <a:pt x="380972" y="29199"/>
                  <a:pt x="381437" y="29664"/>
                </a:cubicBezTo>
                <a:cubicBezTo>
                  <a:pt x="381902" y="30129"/>
                  <a:pt x="382218" y="30482"/>
                  <a:pt x="382386" y="30724"/>
                </a:cubicBezTo>
                <a:cubicBezTo>
                  <a:pt x="382553" y="30966"/>
                  <a:pt x="382683" y="31236"/>
                  <a:pt x="382776" y="31533"/>
                </a:cubicBezTo>
                <a:cubicBezTo>
                  <a:pt x="382869" y="31831"/>
                  <a:pt x="382934" y="32157"/>
                  <a:pt x="382972" y="32510"/>
                </a:cubicBezTo>
                <a:cubicBezTo>
                  <a:pt x="383009" y="32864"/>
                  <a:pt x="383027" y="33282"/>
                  <a:pt x="383027" y="33766"/>
                </a:cubicBezTo>
                <a:cubicBezTo>
                  <a:pt x="383027" y="34845"/>
                  <a:pt x="382869" y="35598"/>
                  <a:pt x="382553" y="36026"/>
                </a:cubicBezTo>
                <a:cubicBezTo>
                  <a:pt x="382237" y="36454"/>
                  <a:pt x="381893" y="36668"/>
                  <a:pt x="381521" y="36668"/>
                </a:cubicBezTo>
                <a:cubicBezTo>
                  <a:pt x="381000" y="36668"/>
                  <a:pt x="380358" y="36333"/>
                  <a:pt x="379595" y="35663"/>
                </a:cubicBezTo>
                <a:cubicBezTo>
                  <a:pt x="378832" y="34994"/>
                  <a:pt x="377856" y="34259"/>
                  <a:pt x="376665" y="33459"/>
                </a:cubicBezTo>
                <a:cubicBezTo>
                  <a:pt x="375474" y="32659"/>
                  <a:pt x="374033" y="31924"/>
                  <a:pt x="372340" y="31254"/>
                </a:cubicBezTo>
                <a:cubicBezTo>
                  <a:pt x="370647" y="30585"/>
                  <a:pt x="368628" y="30250"/>
                  <a:pt x="366284" y="30250"/>
                </a:cubicBezTo>
                <a:cubicBezTo>
                  <a:pt x="361447" y="30250"/>
                  <a:pt x="357718" y="32110"/>
                  <a:pt x="355094" y="35831"/>
                </a:cubicBezTo>
                <a:cubicBezTo>
                  <a:pt x="352471" y="39552"/>
                  <a:pt x="351160" y="44928"/>
                  <a:pt x="351160" y="51960"/>
                </a:cubicBezTo>
                <a:cubicBezTo>
                  <a:pt x="351160" y="55495"/>
                  <a:pt x="351513" y="58592"/>
                  <a:pt x="352220" y="61253"/>
                </a:cubicBezTo>
                <a:cubicBezTo>
                  <a:pt x="352927" y="63913"/>
                  <a:pt x="353941" y="66127"/>
                  <a:pt x="355262" y="67894"/>
                </a:cubicBezTo>
                <a:cubicBezTo>
                  <a:pt x="356583" y="69661"/>
                  <a:pt x="358192" y="70982"/>
                  <a:pt x="360089" y="71857"/>
                </a:cubicBezTo>
                <a:cubicBezTo>
                  <a:pt x="361987" y="72731"/>
                  <a:pt x="364126" y="73168"/>
                  <a:pt x="366507" y="73168"/>
                </a:cubicBezTo>
                <a:cubicBezTo>
                  <a:pt x="368740" y="73168"/>
                  <a:pt x="370712" y="72815"/>
                  <a:pt x="372423" y="72108"/>
                </a:cubicBezTo>
                <a:cubicBezTo>
                  <a:pt x="374135" y="71401"/>
                  <a:pt x="375623" y="70619"/>
                  <a:pt x="376888" y="69764"/>
                </a:cubicBezTo>
                <a:cubicBezTo>
                  <a:pt x="378153" y="68908"/>
                  <a:pt x="379204" y="68127"/>
                  <a:pt x="380041" y="67420"/>
                </a:cubicBezTo>
                <a:cubicBezTo>
                  <a:pt x="380879" y="66713"/>
                  <a:pt x="381502" y="66359"/>
                  <a:pt x="381911" y="66359"/>
                </a:cubicBezTo>
                <a:cubicBezTo>
                  <a:pt x="382134" y="66359"/>
                  <a:pt x="382330" y="66424"/>
                  <a:pt x="382497" y="66555"/>
                </a:cubicBezTo>
                <a:cubicBezTo>
                  <a:pt x="382665" y="66685"/>
                  <a:pt x="382804" y="66889"/>
                  <a:pt x="382916" y="67168"/>
                </a:cubicBezTo>
                <a:cubicBezTo>
                  <a:pt x="383027" y="67448"/>
                  <a:pt x="383111" y="67782"/>
                  <a:pt x="383167" y="68173"/>
                </a:cubicBezTo>
                <a:cubicBezTo>
                  <a:pt x="383223" y="68564"/>
                  <a:pt x="383251" y="69020"/>
                  <a:pt x="383251" y="69540"/>
                </a:cubicBezTo>
                <a:cubicBezTo>
                  <a:pt x="383251" y="69987"/>
                  <a:pt x="383232" y="70387"/>
                  <a:pt x="383195" y="70740"/>
                </a:cubicBezTo>
                <a:cubicBezTo>
                  <a:pt x="383158" y="71094"/>
                  <a:pt x="383102" y="71401"/>
                  <a:pt x="383027" y="71661"/>
                </a:cubicBezTo>
                <a:cubicBezTo>
                  <a:pt x="382953" y="71922"/>
                  <a:pt x="382851" y="72154"/>
                  <a:pt x="382720" y="72359"/>
                </a:cubicBezTo>
                <a:cubicBezTo>
                  <a:pt x="382590" y="72563"/>
                  <a:pt x="382283" y="72908"/>
                  <a:pt x="381800" y="73391"/>
                </a:cubicBezTo>
                <a:cubicBezTo>
                  <a:pt x="381316" y="73875"/>
                  <a:pt x="380507" y="74489"/>
                  <a:pt x="379372" y="75233"/>
                </a:cubicBezTo>
                <a:cubicBezTo>
                  <a:pt x="378237" y="75977"/>
                  <a:pt x="376963" y="76628"/>
                  <a:pt x="375549" y="77186"/>
                </a:cubicBezTo>
                <a:cubicBezTo>
                  <a:pt x="374135" y="77745"/>
                  <a:pt x="372609" y="78200"/>
                  <a:pt x="370972" y="78554"/>
                </a:cubicBezTo>
                <a:cubicBezTo>
                  <a:pt x="369335" y="78907"/>
                  <a:pt x="367642" y="79084"/>
                  <a:pt x="365894" y="79084"/>
                </a:cubicBezTo>
                <a:cubicBezTo>
                  <a:pt x="362396" y="79084"/>
                  <a:pt x="359299" y="78498"/>
                  <a:pt x="356601" y="77326"/>
                </a:cubicBezTo>
                <a:cubicBezTo>
                  <a:pt x="353904" y="76154"/>
                  <a:pt x="351644" y="74424"/>
                  <a:pt x="349820" y="72136"/>
                </a:cubicBezTo>
                <a:cubicBezTo>
                  <a:pt x="347997" y="69847"/>
                  <a:pt x="346611" y="67038"/>
                  <a:pt x="345662" y="63708"/>
                </a:cubicBezTo>
                <a:cubicBezTo>
                  <a:pt x="344714" y="60378"/>
                  <a:pt x="344239" y="56537"/>
                  <a:pt x="344239" y="52183"/>
                </a:cubicBezTo>
                <a:cubicBezTo>
                  <a:pt x="344239" y="47272"/>
                  <a:pt x="344825" y="43068"/>
                  <a:pt x="345997" y="39570"/>
                </a:cubicBezTo>
                <a:cubicBezTo>
                  <a:pt x="347169" y="36073"/>
                  <a:pt x="348779" y="33208"/>
                  <a:pt x="350825" y="30975"/>
                </a:cubicBezTo>
                <a:cubicBezTo>
                  <a:pt x="352871" y="28743"/>
                  <a:pt x="355262" y="27097"/>
                  <a:pt x="357997" y="26036"/>
                </a:cubicBezTo>
                <a:cubicBezTo>
                  <a:pt x="360731" y="24976"/>
                  <a:pt x="363661" y="24446"/>
                  <a:pt x="366787" y="24446"/>
                </a:cubicBezTo>
                <a:close/>
                <a:moveTo>
                  <a:pt x="176287" y="24446"/>
                </a:moveTo>
                <a:cubicBezTo>
                  <a:pt x="177961" y="24446"/>
                  <a:pt x="179561" y="24604"/>
                  <a:pt x="181086" y="24920"/>
                </a:cubicBezTo>
                <a:cubicBezTo>
                  <a:pt x="182612" y="25236"/>
                  <a:pt x="184017" y="25655"/>
                  <a:pt x="185300" y="26176"/>
                </a:cubicBezTo>
                <a:cubicBezTo>
                  <a:pt x="186584" y="26697"/>
                  <a:pt x="187728" y="27292"/>
                  <a:pt x="188733" y="27962"/>
                </a:cubicBezTo>
                <a:cubicBezTo>
                  <a:pt x="189737" y="28631"/>
                  <a:pt x="190472" y="29199"/>
                  <a:pt x="190937" y="29664"/>
                </a:cubicBezTo>
                <a:cubicBezTo>
                  <a:pt x="191402" y="30129"/>
                  <a:pt x="191718" y="30482"/>
                  <a:pt x="191886" y="30724"/>
                </a:cubicBezTo>
                <a:cubicBezTo>
                  <a:pt x="192053" y="30966"/>
                  <a:pt x="192183" y="31236"/>
                  <a:pt x="192276" y="31533"/>
                </a:cubicBezTo>
                <a:cubicBezTo>
                  <a:pt x="192370" y="31831"/>
                  <a:pt x="192435" y="32157"/>
                  <a:pt x="192472" y="32510"/>
                </a:cubicBezTo>
                <a:cubicBezTo>
                  <a:pt x="192509" y="32864"/>
                  <a:pt x="192528" y="33282"/>
                  <a:pt x="192528" y="33766"/>
                </a:cubicBezTo>
                <a:cubicBezTo>
                  <a:pt x="192528" y="34845"/>
                  <a:pt x="192370" y="35598"/>
                  <a:pt x="192053" y="36026"/>
                </a:cubicBezTo>
                <a:cubicBezTo>
                  <a:pt x="191737" y="36454"/>
                  <a:pt x="191393" y="36668"/>
                  <a:pt x="191021" y="36668"/>
                </a:cubicBezTo>
                <a:cubicBezTo>
                  <a:pt x="190500" y="36668"/>
                  <a:pt x="189858" y="36333"/>
                  <a:pt x="189095" y="35663"/>
                </a:cubicBezTo>
                <a:cubicBezTo>
                  <a:pt x="188333" y="34994"/>
                  <a:pt x="187356" y="34259"/>
                  <a:pt x="186165" y="33459"/>
                </a:cubicBezTo>
                <a:cubicBezTo>
                  <a:pt x="184975" y="32659"/>
                  <a:pt x="183533" y="31924"/>
                  <a:pt x="181840" y="31254"/>
                </a:cubicBezTo>
                <a:cubicBezTo>
                  <a:pt x="180147" y="30585"/>
                  <a:pt x="178129" y="30250"/>
                  <a:pt x="175784" y="30250"/>
                </a:cubicBezTo>
                <a:cubicBezTo>
                  <a:pt x="170948" y="30250"/>
                  <a:pt x="167218" y="32110"/>
                  <a:pt x="164594" y="35831"/>
                </a:cubicBezTo>
                <a:cubicBezTo>
                  <a:pt x="161971" y="39552"/>
                  <a:pt x="160660" y="44928"/>
                  <a:pt x="160660" y="51960"/>
                </a:cubicBezTo>
                <a:cubicBezTo>
                  <a:pt x="160660" y="55495"/>
                  <a:pt x="161013" y="58592"/>
                  <a:pt x="161720" y="61253"/>
                </a:cubicBezTo>
                <a:cubicBezTo>
                  <a:pt x="162427" y="63913"/>
                  <a:pt x="163441" y="66127"/>
                  <a:pt x="164762" y="67894"/>
                </a:cubicBezTo>
                <a:cubicBezTo>
                  <a:pt x="166083" y="69661"/>
                  <a:pt x="167692" y="70982"/>
                  <a:pt x="169590" y="71857"/>
                </a:cubicBezTo>
                <a:cubicBezTo>
                  <a:pt x="171487" y="72731"/>
                  <a:pt x="173626" y="73168"/>
                  <a:pt x="176008" y="73168"/>
                </a:cubicBezTo>
                <a:cubicBezTo>
                  <a:pt x="178240" y="73168"/>
                  <a:pt x="180212" y="72815"/>
                  <a:pt x="181924" y="72108"/>
                </a:cubicBezTo>
                <a:cubicBezTo>
                  <a:pt x="183635" y="71401"/>
                  <a:pt x="185123" y="70619"/>
                  <a:pt x="186388" y="69764"/>
                </a:cubicBezTo>
                <a:cubicBezTo>
                  <a:pt x="187654" y="68908"/>
                  <a:pt x="188705" y="68127"/>
                  <a:pt x="189542" y="67420"/>
                </a:cubicBezTo>
                <a:cubicBezTo>
                  <a:pt x="190379" y="66713"/>
                  <a:pt x="191002" y="66359"/>
                  <a:pt x="191411" y="66359"/>
                </a:cubicBezTo>
                <a:cubicBezTo>
                  <a:pt x="191635" y="66359"/>
                  <a:pt x="191830" y="66424"/>
                  <a:pt x="191997" y="66555"/>
                </a:cubicBezTo>
                <a:cubicBezTo>
                  <a:pt x="192165" y="66685"/>
                  <a:pt x="192304" y="66889"/>
                  <a:pt x="192416" y="67168"/>
                </a:cubicBezTo>
                <a:cubicBezTo>
                  <a:pt x="192528" y="67448"/>
                  <a:pt x="192611" y="67782"/>
                  <a:pt x="192667" y="68173"/>
                </a:cubicBezTo>
                <a:cubicBezTo>
                  <a:pt x="192723" y="68564"/>
                  <a:pt x="192751" y="69020"/>
                  <a:pt x="192751" y="69540"/>
                </a:cubicBezTo>
                <a:cubicBezTo>
                  <a:pt x="192751" y="69987"/>
                  <a:pt x="192732" y="70387"/>
                  <a:pt x="192695" y="70740"/>
                </a:cubicBezTo>
                <a:cubicBezTo>
                  <a:pt x="192658" y="71094"/>
                  <a:pt x="192602" y="71401"/>
                  <a:pt x="192528" y="71661"/>
                </a:cubicBezTo>
                <a:cubicBezTo>
                  <a:pt x="192453" y="71922"/>
                  <a:pt x="192351" y="72154"/>
                  <a:pt x="192221" y="72359"/>
                </a:cubicBezTo>
                <a:cubicBezTo>
                  <a:pt x="192090" y="72563"/>
                  <a:pt x="191784" y="72908"/>
                  <a:pt x="191300" y="73391"/>
                </a:cubicBezTo>
                <a:cubicBezTo>
                  <a:pt x="190816" y="73875"/>
                  <a:pt x="190007" y="74489"/>
                  <a:pt x="188872" y="75233"/>
                </a:cubicBezTo>
                <a:cubicBezTo>
                  <a:pt x="187737" y="75977"/>
                  <a:pt x="186463" y="76628"/>
                  <a:pt x="185049" y="77186"/>
                </a:cubicBezTo>
                <a:cubicBezTo>
                  <a:pt x="183635" y="77745"/>
                  <a:pt x="182110" y="78200"/>
                  <a:pt x="180473" y="78554"/>
                </a:cubicBezTo>
                <a:cubicBezTo>
                  <a:pt x="178835" y="78907"/>
                  <a:pt x="177143" y="79084"/>
                  <a:pt x="175394" y="79084"/>
                </a:cubicBezTo>
                <a:cubicBezTo>
                  <a:pt x="171896" y="79084"/>
                  <a:pt x="168799" y="78498"/>
                  <a:pt x="166101" y="77326"/>
                </a:cubicBezTo>
                <a:cubicBezTo>
                  <a:pt x="163404" y="76154"/>
                  <a:pt x="161144" y="74424"/>
                  <a:pt x="159320" y="72136"/>
                </a:cubicBezTo>
                <a:cubicBezTo>
                  <a:pt x="157497" y="69847"/>
                  <a:pt x="156111" y="67038"/>
                  <a:pt x="155162" y="63708"/>
                </a:cubicBezTo>
                <a:cubicBezTo>
                  <a:pt x="154214" y="60378"/>
                  <a:pt x="153739" y="56537"/>
                  <a:pt x="153739" y="52183"/>
                </a:cubicBezTo>
                <a:cubicBezTo>
                  <a:pt x="153739" y="47272"/>
                  <a:pt x="154325" y="43068"/>
                  <a:pt x="155497" y="39570"/>
                </a:cubicBezTo>
                <a:cubicBezTo>
                  <a:pt x="156669" y="36073"/>
                  <a:pt x="158279" y="33208"/>
                  <a:pt x="160325" y="30975"/>
                </a:cubicBezTo>
                <a:cubicBezTo>
                  <a:pt x="162371" y="28743"/>
                  <a:pt x="164762" y="27097"/>
                  <a:pt x="167497" y="26036"/>
                </a:cubicBezTo>
                <a:cubicBezTo>
                  <a:pt x="170231" y="24976"/>
                  <a:pt x="173161" y="24446"/>
                  <a:pt x="176287" y="24446"/>
                </a:cubicBezTo>
                <a:close/>
                <a:moveTo>
                  <a:pt x="111174" y="24446"/>
                </a:moveTo>
                <a:cubicBezTo>
                  <a:pt x="111658" y="24446"/>
                  <a:pt x="112216" y="24473"/>
                  <a:pt x="112849" y="24529"/>
                </a:cubicBezTo>
                <a:cubicBezTo>
                  <a:pt x="113481" y="24585"/>
                  <a:pt x="114160" y="24687"/>
                  <a:pt x="114886" y="24836"/>
                </a:cubicBezTo>
                <a:cubicBezTo>
                  <a:pt x="115611" y="24985"/>
                  <a:pt x="116263" y="25162"/>
                  <a:pt x="116839" y="25366"/>
                </a:cubicBezTo>
                <a:cubicBezTo>
                  <a:pt x="117416" y="25571"/>
                  <a:pt x="117816" y="25757"/>
                  <a:pt x="118039" y="25924"/>
                </a:cubicBezTo>
                <a:cubicBezTo>
                  <a:pt x="118262" y="26092"/>
                  <a:pt x="118411" y="26241"/>
                  <a:pt x="118486" y="26371"/>
                </a:cubicBezTo>
                <a:cubicBezTo>
                  <a:pt x="118560" y="26501"/>
                  <a:pt x="118625" y="26669"/>
                  <a:pt x="118681" y="26873"/>
                </a:cubicBezTo>
                <a:cubicBezTo>
                  <a:pt x="118737" y="27078"/>
                  <a:pt x="118774" y="27357"/>
                  <a:pt x="118793" y="27710"/>
                </a:cubicBezTo>
                <a:cubicBezTo>
                  <a:pt x="118811" y="28064"/>
                  <a:pt x="118821" y="28520"/>
                  <a:pt x="118821" y="29078"/>
                </a:cubicBezTo>
                <a:cubicBezTo>
                  <a:pt x="118821" y="29636"/>
                  <a:pt x="118802" y="30110"/>
                  <a:pt x="118765" y="30501"/>
                </a:cubicBezTo>
                <a:cubicBezTo>
                  <a:pt x="118727" y="30892"/>
                  <a:pt x="118662" y="31208"/>
                  <a:pt x="118569" y="31450"/>
                </a:cubicBezTo>
                <a:cubicBezTo>
                  <a:pt x="118476" y="31692"/>
                  <a:pt x="118365" y="31878"/>
                  <a:pt x="118234" y="32008"/>
                </a:cubicBezTo>
                <a:cubicBezTo>
                  <a:pt x="118104" y="32138"/>
                  <a:pt x="117928" y="32203"/>
                  <a:pt x="117704" y="32203"/>
                </a:cubicBezTo>
                <a:cubicBezTo>
                  <a:pt x="117369" y="32203"/>
                  <a:pt x="116979" y="32119"/>
                  <a:pt x="116532" y="31952"/>
                </a:cubicBezTo>
                <a:cubicBezTo>
                  <a:pt x="116086" y="31785"/>
                  <a:pt x="115565" y="31608"/>
                  <a:pt x="114970" y="31422"/>
                </a:cubicBezTo>
                <a:cubicBezTo>
                  <a:pt x="114374" y="31236"/>
                  <a:pt x="113723" y="31059"/>
                  <a:pt x="113016" y="30892"/>
                </a:cubicBezTo>
                <a:cubicBezTo>
                  <a:pt x="112309" y="30724"/>
                  <a:pt x="111528" y="30640"/>
                  <a:pt x="110672" y="30640"/>
                </a:cubicBezTo>
                <a:cubicBezTo>
                  <a:pt x="109668" y="30640"/>
                  <a:pt x="108682" y="30854"/>
                  <a:pt x="107714" y="31282"/>
                </a:cubicBezTo>
                <a:cubicBezTo>
                  <a:pt x="106747" y="31710"/>
                  <a:pt x="105733" y="32399"/>
                  <a:pt x="104673" y="33347"/>
                </a:cubicBezTo>
                <a:cubicBezTo>
                  <a:pt x="103612" y="34296"/>
                  <a:pt x="102496" y="35552"/>
                  <a:pt x="101324" y="37114"/>
                </a:cubicBezTo>
                <a:cubicBezTo>
                  <a:pt x="100152" y="38677"/>
                  <a:pt x="98859" y="40593"/>
                  <a:pt x="97445" y="42863"/>
                </a:cubicBezTo>
                <a:lnTo>
                  <a:pt x="97445" y="77019"/>
                </a:lnTo>
                <a:cubicBezTo>
                  <a:pt x="97445" y="77242"/>
                  <a:pt x="97389" y="77447"/>
                  <a:pt x="97278" y="77633"/>
                </a:cubicBezTo>
                <a:cubicBezTo>
                  <a:pt x="97166" y="77819"/>
                  <a:pt x="96989" y="77968"/>
                  <a:pt x="96747" y="78079"/>
                </a:cubicBezTo>
                <a:cubicBezTo>
                  <a:pt x="96506" y="78191"/>
                  <a:pt x="96171" y="78284"/>
                  <a:pt x="95743" y="78358"/>
                </a:cubicBezTo>
                <a:cubicBezTo>
                  <a:pt x="95315" y="78433"/>
                  <a:pt x="94766" y="78470"/>
                  <a:pt x="94096" y="78470"/>
                </a:cubicBezTo>
                <a:cubicBezTo>
                  <a:pt x="93464" y="78470"/>
                  <a:pt x="92934" y="78433"/>
                  <a:pt x="92506" y="78358"/>
                </a:cubicBezTo>
                <a:cubicBezTo>
                  <a:pt x="92078" y="78284"/>
                  <a:pt x="91734" y="78191"/>
                  <a:pt x="91473" y="78079"/>
                </a:cubicBezTo>
                <a:cubicBezTo>
                  <a:pt x="91213" y="77968"/>
                  <a:pt x="91036" y="77819"/>
                  <a:pt x="90943" y="77633"/>
                </a:cubicBezTo>
                <a:cubicBezTo>
                  <a:pt x="90850" y="77447"/>
                  <a:pt x="90804" y="77242"/>
                  <a:pt x="90804" y="77019"/>
                </a:cubicBezTo>
                <a:lnTo>
                  <a:pt x="90804" y="26510"/>
                </a:lnTo>
                <a:cubicBezTo>
                  <a:pt x="90804" y="26287"/>
                  <a:pt x="90850" y="26083"/>
                  <a:pt x="90943" y="25897"/>
                </a:cubicBezTo>
                <a:cubicBezTo>
                  <a:pt x="91036" y="25711"/>
                  <a:pt x="91213" y="25552"/>
                  <a:pt x="91473" y="25422"/>
                </a:cubicBezTo>
                <a:cubicBezTo>
                  <a:pt x="91734" y="25292"/>
                  <a:pt x="92059" y="25199"/>
                  <a:pt x="92450" y="25143"/>
                </a:cubicBezTo>
                <a:cubicBezTo>
                  <a:pt x="92841" y="25087"/>
                  <a:pt x="93352" y="25059"/>
                  <a:pt x="93985" y="25059"/>
                </a:cubicBezTo>
                <a:cubicBezTo>
                  <a:pt x="94617" y="25059"/>
                  <a:pt x="95138" y="25087"/>
                  <a:pt x="95548" y="25143"/>
                </a:cubicBezTo>
                <a:cubicBezTo>
                  <a:pt x="95957" y="25199"/>
                  <a:pt x="96273" y="25292"/>
                  <a:pt x="96496" y="25422"/>
                </a:cubicBezTo>
                <a:cubicBezTo>
                  <a:pt x="96720" y="25552"/>
                  <a:pt x="96878" y="25711"/>
                  <a:pt x="96971" y="25897"/>
                </a:cubicBezTo>
                <a:cubicBezTo>
                  <a:pt x="97064" y="26083"/>
                  <a:pt x="97110" y="26287"/>
                  <a:pt x="97110" y="26510"/>
                </a:cubicBezTo>
                <a:lnTo>
                  <a:pt x="97110" y="34491"/>
                </a:lnTo>
                <a:cubicBezTo>
                  <a:pt x="98561" y="32371"/>
                  <a:pt x="99901" y="30659"/>
                  <a:pt x="101129" y="29357"/>
                </a:cubicBezTo>
                <a:cubicBezTo>
                  <a:pt x="102356" y="28055"/>
                  <a:pt x="103528" y="27041"/>
                  <a:pt x="104645" y="26315"/>
                </a:cubicBezTo>
                <a:cubicBezTo>
                  <a:pt x="105761" y="25590"/>
                  <a:pt x="106849" y="25097"/>
                  <a:pt x="107910" y="24836"/>
                </a:cubicBezTo>
                <a:cubicBezTo>
                  <a:pt x="108970" y="24576"/>
                  <a:pt x="110058" y="24446"/>
                  <a:pt x="111174" y="24446"/>
                </a:cubicBezTo>
                <a:close/>
                <a:moveTo>
                  <a:pt x="753386" y="11497"/>
                </a:moveTo>
                <a:cubicBezTo>
                  <a:pt x="754056" y="11497"/>
                  <a:pt x="754605" y="11525"/>
                  <a:pt x="755033" y="11581"/>
                </a:cubicBezTo>
                <a:cubicBezTo>
                  <a:pt x="755460" y="11637"/>
                  <a:pt x="755795" y="11730"/>
                  <a:pt x="756037" y="11860"/>
                </a:cubicBezTo>
                <a:cubicBezTo>
                  <a:pt x="756279" y="11990"/>
                  <a:pt x="756456" y="12149"/>
                  <a:pt x="756567" y="12335"/>
                </a:cubicBezTo>
                <a:cubicBezTo>
                  <a:pt x="756679" y="12521"/>
                  <a:pt x="756735" y="12725"/>
                  <a:pt x="756735" y="12949"/>
                </a:cubicBezTo>
                <a:lnTo>
                  <a:pt x="756735" y="25338"/>
                </a:lnTo>
                <a:lnTo>
                  <a:pt x="770687" y="25338"/>
                </a:lnTo>
                <a:cubicBezTo>
                  <a:pt x="770948" y="25338"/>
                  <a:pt x="771180" y="25394"/>
                  <a:pt x="771385" y="25506"/>
                </a:cubicBezTo>
                <a:cubicBezTo>
                  <a:pt x="771590" y="25618"/>
                  <a:pt x="771766" y="25794"/>
                  <a:pt x="771915" y="26036"/>
                </a:cubicBezTo>
                <a:cubicBezTo>
                  <a:pt x="772064" y="26278"/>
                  <a:pt x="772176" y="26576"/>
                  <a:pt x="772250" y="26929"/>
                </a:cubicBezTo>
                <a:cubicBezTo>
                  <a:pt x="772325" y="27283"/>
                  <a:pt x="772362" y="27701"/>
                  <a:pt x="772362" y="28185"/>
                </a:cubicBezTo>
                <a:cubicBezTo>
                  <a:pt x="772362" y="29115"/>
                  <a:pt x="772204" y="29813"/>
                  <a:pt x="771887" y="30278"/>
                </a:cubicBezTo>
                <a:cubicBezTo>
                  <a:pt x="771571" y="30743"/>
                  <a:pt x="771171" y="30975"/>
                  <a:pt x="770687" y="30975"/>
                </a:cubicBezTo>
                <a:lnTo>
                  <a:pt x="756735" y="30975"/>
                </a:lnTo>
                <a:lnTo>
                  <a:pt x="756735" y="61504"/>
                </a:lnTo>
                <a:cubicBezTo>
                  <a:pt x="756735" y="65336"/>
                  <a:pt x="757284" y="68257"/>
                  <a:pt x="758381" y="70266"/>
                </a:cubicBezTo>
                <a:cubicBezTo>
                  <a:pt x="759479" y="72275"/>
                  <a:pt x="761479" y="73280"/>
                  <a:pt x="764381" y="73280"/>
                </a:cubicBezTo>
                <a:cubicBezTo>
                  <a:pt x="765274" y="73280"/>
                  <a:pt x="766083" y="73187"/>
                  <a:pt x="766809" y="73001"/>
                </a:cubicBezTo>
                <a:cubicBezTo>
                  <a:pt x="767534" y="72815"/>
                  <a:pt x="768176" y="72610"/>
                  <a:pt x="768734" y="72387"/>
                </a:cubicBezTo>
                <a:cubicBezTo>
                  <a:pt x="769292" y="72164"/>
                  <a:pt x="769767" y="71959"/>
                  <a:pt x="770157" y="71773"/>
                </a:cubicBezTo>
                <a:cubicBezTo>
                  <a:pt x="770548" y="71587"/>
                  <a:pt x="770892" y="71494"/>
                  <a:pt x="771190" y="71494"/>
                </a:cubicBezTo>
                <a:cubicBezTo>
                  <a:pt x="771376" y="71494"/>
                  <a:pt x="771543" y="71531"/>
                  <a:pt x="771692" y="71605"/>
                </a:cubicBezTo>
                <a:cubicBezTo>
                  <a:pt x="771841" y="71680"/>
                  <a:pt x="771962" y="71819"/>
                  <a:pt x="772055" y="72024"/>
                </a:cubicBezTo>
                <a:cubicBezTo>
                  <a:pt x="772148" y="72229"/>
                  <a:pt x="772222" y="72489"/>
                  <a:pt x="772278" y="72805"/>
                </a:cubicBezTo>
                <a:cubicBezTo>
                  <a:pt x="772334" y="73122"/>
                  <a:pt x="772362" y="73522"/>
                  <a:pt x="772362" y="74005"/>
                </a:cubicBezTo>
                <a:cubicBezTo>
                  <a:pt x="772362" y="74787"/>
                  <a:pt x="772297" y="75419"/>
                  <a:pt x="772166" y="75903"/>
                </a:cubicBezTo>
                <a:cubicBezTo>
                  <a:pt x="772036" y="76387"/>
                  <a:pt x="771832" y="76768"/>
                  <a:pt x="771553" y="77047"/>
                </a:cubicBezTo>
                <a:cubicBezTo>
                  <a:pt x="771273" y="77326"/>
                  <a:pt x="770864" y="77586"/>
                  <a:pt x="770325" y="77828"/>
                </a:cubicBezTo>
                <a:cubicBezTo>
                  <a:pt x="769785" y="78070"/>
                  <a:pt x="769162" y="78275"/>
                  <a:pt x="768455" y="78442"/>
                </a:cubicBezTo>
                <a:cubicBezTo>
                  <a:pt x="767748" y="78610"/>
                  <a:pt x="767004" y="78740"/>
                  <a:pt x="766223" y="78833"/>
                </a:cubicBezTo>
                <a:cubicBezTo>
                  <a:pt x="765441" y="78926"/>
                  <a:pt x="764679" y="78972"/>
                  <a:pt x="763934" y="78972"/>
                </a:cubicBezTo>
                <a:cubicBezTo>
                  <a:pt x="761441" y="78972"/>
                  <a:pt x="759321" y="78638"/>
                  <a:pt x="757572" y="77968"/>
                </a:cubicBezTo>
                <a:cubicBezTo>
                  <a:pt x="755823" y="77298"/>
                  <a:pt x="754391" y="76284"/>
                  <a:pt x="753275" y="74926"/>
                </a:cubicBezTo>
                <a:cubicBezTo>
                  <a:pt x="752158" y="73568"/>
                  <a:pt x="751349" y="71847"/>
                  <a:pt x="750847" y="69764"/>
                </a:cubicBezTo>
                <a:cubicBezTo>
                  <a:pt x="750345" y="67680"/>
                  <a:pt x="750093" y="65224"/>
                  <a:pt x="750093" y="62397"/>
                </a:cubicBezTo>
                <a:lnTo>
                  <a:pt x="750093" y="30975"/>
                </a:lnTo>
                <a:lnTo>
                  <a:pt x="742559" y="30975"/>
                </a:lnTo>
                <a:cubicBezTo>
                  <a:pt x="742038" y="30975"/>
                  <a:pt x="741629" y="30743"/>
                  <a:pt x="741331" y="30278"/>
                </a:cubicBezTo>
                <a:cubicBezTo>
                  <a:pt x="741033" y="29813"/>
                  <a:pt x="740885" y="29115"/>
                  <a:pt x="740885" y="28185"/>
                </a:cubicBezTo>
                <a:cubicBezTo>
                  <a:pt x="740885" y="27701"/>
                  <a:pt x="740922" y="27283"/>
                  <a:pt x="740996" y="26929"/>
                </a:cubicBezTo>
                <a:cubicBezTo>
                  <a:pt x="741071" y="26576"/>
                  <a:pt x="741182" y="26278"/>
                  <a:pt x="741331" y="26036"/>
                </a:cubicBezTo>
                <a:cubicBezTo>
                  <a:pt x="741480" y="25794"/>
                  <a:pt x="741657" y="25618"/>
                  <a:pt x="741861" y="25506"/>
                </a:cubicBezTo>
                <a:cubicBezTo>
                  <a:pt x="742066" y="25394"/>
                  <a:pt x="742298" y="25338"/>
                  <a:pt x="742559" y="25338"/>
                </a:cubicBezTo>
                <a:lnTo>
                  <a:pt x="750093" y="25338"/>
                </a:lnTo>
                <a:lnTo>
                  <a:pt x="750093" y="12949"/>
                </a:lnTo>
                <a:cubicBezTo>
                  <a:pt x="750093" y="12725"/>
                  <a:pt x="750140" y="12521"/>
                  <a:pt x="750233" y="12335"/>
                </a:cubicBezTo>
                <a:cubicBezTo>
                  <a:pt x="750326" y="12149"/>
                  <a:pt x="750503" y="11990"/>
                  <a:pt x="750763" y="11860"/>
                </a:cubicBezTo>
                <a:cubicBezTo>
                  <a:pt x="751023" y="11730"/>
                  <a:pt x="751368" y="11637"/>
                  <a:pt x="751796" y="11581"/>
                </a:cubicBezTo>
                <a:cubicBezTo>
                  <a:pt x="752223" y="11525"/>
                  <a:pt x="752754" y="11497"/>
                  <a:pt x="753386" y="11497"/>
                </a:cubicBezTo>
                <a:close/>
                <a:moveTo>
                  <a:pt x="210461" y="11497"/>
                </a:moveTo>
                <a:cubicBezTo>
                  <a:pt x="211131" y="11497"/>
                  <a:pt x="211680" y="11525"/>
                  <a:pt x="212108" y="11581"/>
                </a:cubicBezTo>
                <a:cubicBezTo>
                  <a:pt x="212536" y="11637"/>
                  <a:pt x="212871" y="11730"/>
                  <a:pt x="213112" y="11860"/>
                </a:cubicBezTo>
                <a:cubicBezTo>
                  <a:pt x="213354" y="11990"/>
                  <a:pt x="213531" y="12149"/>
                  <a:pt x="213643" y="12335"/>
                </a:cubicBezTo>
                <a:cubicBezTo>
                  <a:pt x="213754" y="12521"/>
                  <a:pt x="213810" y="12725"/>
                  <a:pt x="213810" y="12949"/>
                </a:cubicBezTo>
                <a:lnTo>
                  <a:pt x="213810" y="25338"/>
                </a:lnTo>
                <a:lnTo>
                  <a:pt x="227763" y="25338"/>
                </a:lnTo>
                <a:cubicBezTo>
                  <a:pt x="228023" y="25338"/>
                  <a:pt x="228256" y="25394"/>
                  <a:pt x="228460" y="25506"/>
                </a:cubicBezTo>
                <a:cubicBezTo>
                  <a:pt x="228665" y="25618"/>
                  <a:pt x="228842" y="25794"/>
                  <a:pt x="228991" y="26036"/>
                </a:cubicBezTo>
                <a:cubicBezTo>
                  <a:pt x="229139" y="26278"/>
                  <a:pt x="229251" y="26576"/>
                  <a:pt x="229325" y="26929"/>
                </a:cubicBezTo>
                <a:cubicBezTo>
                  <a:pt x="229400" y="27283"/>
                  <a:pt x="229437" y="27701"/>
                  <a:pt x="229437" y="28185"/>
                </a:cubicBezTo>
                <a:cubicBezTo>
                  <a:pt x="229437" y="29115"/>
                  <a:pt x="229279" y="29813"/>
                  <a:pt x="228963" y="30278"/>
                </a:cubicBezTo>
                <a:cubicBezTo>
                  <a:pt x="228646" y="30743"/>
                  <a:pt x="228246" y="30975"/>
                  <a:pt x="227763" y="30975"/>
                </a:cubicBezTo>
                <a:lnTo>
                  <a:pt x="213810" y="30975"/>
                </a:lnTo>
                <a:lnTo>
                  <a:pt x="213810" y="61504"/>
                </a:lnTo>
                <a:cubicBezTo>
                  <a:pt x="213810" y="65336"/>
                  <a:pt x="214359" y="68257"/>
                  <a:pt x="215456" y="70266"/>
                </a:cubicBezTo>
                <a:cubicBezTo>
                  <a:pt x="216554" y="72275"/>
                  <a:pt x="218554" y="73280"/>
                  <a:pt x="221456" y="73280"/>
                </a:cubicBezTo>
                <a:cubicBezTo>
                  <a:pt x="222349" y="73280"/>
                  <a:pt x="223158" y="73187"/>
                  <a:pt x="223884" y="73001"/>
                </a:cubicBezTo>
                <a:cubicBezTo>
                  <a:pt x="224609" y="72815"/>
                  <a:pt x="225251" y="72610"/>
                  <a:pt x="225809" y="72387"/>
                </a:cubicBezTo>
                <a:cubicBezTo>
                  <a:pt x="226367" y="72164"/>
                  <a:pt x="226842" y="71959"/>
                  <a:pt x="227232" y="71773"/>
                </a:cubicBezTo>
                <a:cubicBezTo>
                  <a:pt x="227623" y="71587"/>
                  <a:pt x="227967" y="71494"/>
                  <a:pt x="228265" y="71494"/>
                </a:cubicBezTo>
                <a:cubicBezTo>
                  <a:pt x="228451" y="71494"/>
                  <a:pt x="228618" y="71531"/>
                  <a:pt x="228767" y="71605"/>
                </a:cubicBezTo>
                <a:cubicBezTo>
                  <a:pt x="228916" y="71680"/>
                  <a:pt x="229037" y="71819"/>
                  <a:pt x="229130" y="72024"/>
                </a:cubicBezTo>
                <a:cubicBezTo>
                  <a:pt x="229223" y="72229"/>
                  <a:pt x="229297" y="72489"/>
                  <a:pt x="229353" y="72805"/>
                </a:cubicBezTo>
                <a:cubicBezTo>
                  <a:pt x="229409" y="73122"/>
                  <a:pt x="229437" y="73522"/>
                  <a:pt x="229437" y="74005"/>
                </a:cubicBezTo>
                <a:cubicBezTo>
                  <a:pt x="229437" y="74787"/>
                  <a:pt x="229372" y="75419"/>
                  <a:pt x="229242" y="75903"/>
                </a:cubicBezTo>
                <a:cubicBezTo>
                  <a:pt x="229111" y="76387"/>
                  <a:pt x="228907" y="76768"/>
                  <a:pt x="228628" y="77047"/>
                </a:cubicBezTo>
                <a:cubicBezTo>
                  <a:pt x="228349" y="77326"/>
                  <a:pt x="227939" y="77586"/>
                  <a:pt x="227400" y="77828"/>
                </a:cubicBezTo>
                <a:cubicBezTo>
                  <a:pt x="226860" y="78070"/>
                  <a:pt x="226237" y="78275"/>
                  <a:pt x="225530" y="78442"/>
                </a:cubicBezTo>
                <a:cubicBezTo>
                  <a:pt x="224823" y="78610"/>
                  <a:pt x="224079" y="78740"/>
                  <a:pt x="223298" y="78833"/>
                </a:cubicBezTo>
                <a:cubicBezTo>
                  <a:pt x="222516" y="78926"/>
                  <a:pt x="221754" y="78972"/>
                  <a:pt x="221010" y="78972"/>
                </a:cubicBezTo>
                <a:cubicBezTo>
                  <a:pt x="218517" y="78972"/>
                  <a:pt x="216396" y="78638"/>
                  <a:pt x="214647" y="77968"/>
                </a:cubicBezTo>
                <a:cubicBezTo>
                  <a:pt x="212898" y="77298"/>
                  <a:pt x="211466" y="76284"/>
                  <a:pt x="210350" y="74926"/>
                </a:cubicBezTo>
                <a:cubicBezTo>
                  <a:pt x="209234" y="73568"/>
                  <a:pt x="208424" y="71847"/>
                  <a:pt x="207922" y="69764"/>
                </a:cubicBezTo>
                <a:cubicBezTo>
                  <a:pt x="207420" y="67680"/>
                  <a:pt x="207169" y="65224"/>
                  <a:pt x="207169" y="62397"/>
                </a:cubicBezTo>
                <a:lnTo>
                  <a:pt x="207169" y="30975"/>
                </a:lnTo>
                <a:lnTo>
                  <a:pt x="199634" y="30975"/>
                </a:lnTo>
                <a:cubicBezTo>
                  <a:pt x="199113" y="30975"/>
                  <a:pt x="198704" y="30743"/>
                  <a:pt x="198406" y="30278"/>
                </a:cubicBezTo>
                <a:cubicBezTo>
                  <a:pt x="198109" y="29813"/>
                  <a:pt x="197960" y="29115"/>
                  <a:pt x="197960" y="28185"/>
                </a:cubicBezTo>
                <a:cubicBezTo>
                  <a:pt x="197960" y="27701"/>
                  <a:pt x="197997" y="27283"/>
                  <a:pt x="198071" y="26929"/>
                </a:cubicBezTo>
                <a:cubicBezTo>
                  <a:pt x="198146" y="26576"/>
                  <a:pt x="198258" y="26278"/>
                  <a:pt x="198406" y="26036"/>
                </a:cubicBezTo>
                <a:cubicBezTo>
                  <a:pt x="198555" y="25794"/>
                  <a:pt x="198732" y="25618"/>
                  <a:pt x="198937" y="25506"/>
                </a:cubicBezTo>
                <a:cubicBezTo>
                  <a:pt x="199141" y="25394"/>
                  <a:pt x="199374" y="25338"/>
                  <a:pt x="199634" y="25338"/>
                </a:cubicBezTo>
                <a:lnTo>
                  <a:pt x="207169" y="25338"/>
                </a:lnTo>
                <a:lnTo>
                  <a:pt x="207169" y="12949"/>
                </a:lnTo>
                <a:cubicBezTo>
                  <a:pt x="207169" y="12725"/>
                  <a:pt x="207215" y="12521"/>
                  <a:pt x="207308" y="12335"/>
                </a:cubicBezTo>
                <a:cubicBezTo>
                  <a:pt x="207401" y="12149"/>
                  <a:pt x="207578" y="11990"/>
                  <a:pt x="207838" y="11860"/>
                </a:cubicBezTo>
                <a:cubicBezTo>
                  <a:pt x="208099" y="11730"/>
                  <a:pt x="208443" y="11637"/>
                  <a:pt x="208871" y="11581"/>
                </a:cubicBezTo>
                <a:cubicBezTo>
                  <a:pt x="209299" y="11525"/>
                  <a:pt x="209829" y="11497"/>
                  <a:pt x="210461" y="11497"/>
                </a:cubicBezTo>
                <a:close/>
                <a:moveTo>
                  <a:pt x="58061" y="11497"/>
                </a:moveTo>
                <a:cubicBezTo>
                  <a:pt x="58731" y="11497"/>
                  <a:pt x="59280" y="11525"/>
                  <a:pt x="59708" y="11581"/>
                </a:cubicBezTo>
                <a:cubicBezTo>
                  <a:pt x="60136" y="11637"/>
                  <a:pt x="60471" y="11730"/>
                  <a:pt x="60712" y="11860"/>
                </a:cubicBezTo>
                <a:cubicBezTo>
                  <a:pt x="60954" y="11990"/>
                  <a:pt x="61131" y="12149"/>
                  <a:pt x="61243" y="12335"/>
                </a:cubicBezTo>
                <a:cubicBezTo>
                  <a:pt x="61354" y="12521"/>
                  <a:pt x="61410" y="12725"/>
                  <a:pt x="61410" y="12949"/>
                </a:cubicBezTo>
                <a:lnTo>
                  <a:pt x="61410" y="25338"/>
                </a:lnTo>
                <a:lnTo>
                  <a:pt x="75363" y="25338"/>
                </a:lnTo>
                <a:cubicBezTo>
                  <a:pt x="75623" y="25338"/>
                  <a:pt x="75856" y="25394"/>
                  <a:pt x="76060" y="25506"/>
                </a:cubicBezTo>
                <a:cubicBezTo>
                  <a:pt x="76265" y="25618"/>
                  <a:pt x="76442" y="25794"/>
                  <a:pt x="76591" y="26036"/>
                </a:cubicBezTo>
                <a:cubicBezTo>
                  <a:pt x="76739" y="26278"/>
                  <a:pt x="76851" y="26576"/>
                  <a:pt x="76925" y="26929"/>
                </a:cubicBezTo>
                <a:cubicBezTo>
                  <a:pt x="77000" y="27283"/>
                  <a:pt x="77037" y="27701"/>
                  <a:pt x="77037" y="28185"/>
                </a:cubicBezTo>
                <a:cubicBezTo>
                  <a:pt x="77037" y="29115"/>
                  <a:pt x="76879" y="29813"/>
                  <a:pt x="76563" y="30278"/>
                </a:cubicBezTo>
                <a:cubicBezTo>
                  <a:pt x="76246" y="30743"/>
                  <a:pt x="75846" y="30975"/>
                  <a:pt x="75363" y="30975"/>
                </a:cubicBezTo>
                <a:lnTo>
                  <a:pt x="61410" y="30975"/>
                </a:lnTo>
                <a:lnTo>
                  <a:pt x="61410" y="61504"/>
                </a:lnTo>
                <a:cubicBezTo>
                  <a:pt x="61410" y="65336"/>
                  <a:pt x="61959" y="68257"/>
                  <a:pt x="63056" y="70266"/>
                </a:cubicBezTo>
                <a:cubicBezTo>
                  <a:pt x="64154" y="72275"/>
                  <a:pt x="66154" y="73280"/>
                  <a:pt x="69056" y="73280"/>
                </a:cubicBezTo>
                <a:cubicBezTo>
                  <a:pt x="69949" y="73280"/>
                  <a:pt x="70758" y="73187"/>
                  <a:pt x="71484" y="73001"/>
                </a:cubicBezTo>
                <a:cubicBezTo>
                  <a:pt x="72209" y="72815"/>
                  <a:pt x="72851" y="72610"/>
                  <a:pt x="73409" y="72387"/>
                </a:cubicBezTo>
                <a:cubicBezTo>
                  <a:pt x="73967" y="72164"/>
                  <a:pt x="74442" y="71959"/>
                  <a:pt x="74833" y="71773"/>
                </a:cubicBezTo>
                <a:cubicBezTo>
                  <a:pt x="75223" y="71587"/>
                  <a:pt x="75567" y="71494"/>
                  <a:pt x="75865" y="71494"/>
                </a:cubicBezTo>
                <a:cubicBezTo>
                  <a:pt x="76051" y="71494"/>
                  <a:pt x="76218" y="71531"/>
                  <a:pt x="76367" y="71605"/>
                </a:cubicBezTo>
                <a:cubicBezTo>
                  <a:pt x="76516" y="71680"/>
                  <a:pt x="76637" y="71819"/>
                  <a:pt x="76730" y="72024"/>
                </a:cubicBezTo>
                <a:cubicBezTo>
                  <a:pt x="76823" y="72229"/>
                  <a:pt x="76897" y="72489"/>
                  <a:pt x="76953" y="72805"/>
                </a:cubicBezTo>
                <a:cubicBezTo>
                  <a:pt x="77009" y="73122"/>
                  <a:pt x="77037" y="73522"/>
                  <a:pt x="77037" y="74005"/>
                </a:cubicBezTo>
                <a:cubicBezTo>
                  <a:pt x="77037" y="74787"/>
                  <a:pt x="76972" y="75419"/>
                  <a:pt x="76842" y="75903"/>
                </a:cubicBezTo>
                <a:cubicBezTo>
                  <a:pt x="76711" y="76387"/>
                  <a:pt x="76507" y="76768"/>
                  <a:pt x="76228" y="77047"/>
                </a:cubicBezTo>
                <a:cubicBezTo>
                  <a:pt x="75949" y="77326"/>
                  <a:pt x="75539" y="77586"/>
                  <a:pt x="75000" y="77828"/>
                </a:cubicBezTo>
                <a:cubicBezTo>
                  <a:pt x="74460" y="78070"/>
                  <a:pt x="73837" y="78275"/>
                  <a:pt x="73130" y="78442"/>
                </a:cubicBezTo>
                <a:cubicBezTo>
                  <a:pt x="72423" y="78610"/>
                  <a:pt x="71679" y="78740"/>
                  <a:pt x="70898" y="78833"/>
                </a:cubicBezTo>
                <a:cubicBezTo>
                  <a:pt x="70117" y="78926"/>
                  <a:pt x="69354" y="78972"/>
                  <a:pt x="68610" y="78972"/>
                </a:cubicBezTo>
                <a:cubicBezTo>
                  <a:pt x="66117" y="78972"/>
                  <a:pt x="63996" y="78638"/>
                  <a:pt x="62247" y="77968"/>
                </a:cubicBezTo>
                <a:cubicBezTo>
                  <a:pt x="60498" y="77298"/>
                  <a:pt x="59066" y="76284"/>
                  <a:pt x="57950" y="74926"/>
                </a:cubicBezTo>
                <a:cubicBezTo>
                  <a:pt x="56834" y="73568"/>
                  <a:pt x="56024" y="71847"/>
                  <a:pt x="55522" y="69764"/>
                </a:cubicBezTo>
                <a:cubicBezTo>
                  <a:pt x="55020" y="67680"/>
                  <a:pt x="54769" y="65224"/>
                  <a:pt x="54769" y="62397"/>
                </a:cubicBezTo>
                <a:lnTo>
                  <a:pt x="54769" y="30975"/>
                </a:lnTo>
                <a:lnTo>
                  <a:pt x="47234" y="30975"/>
                </a:lnTo>
                <a:cubicBezTo>
                  <a:pt x="46713" y="30975"/>
                  <a:pt x="46304" y="30743"/>
                  <a:pt x="46006" y="30278"/>
                </a:cubicBezTo>
                <a:cubicBezTo>
                  <a:pt x="45709" y="29813"/>
                  <a:pt x="45560" y="29115"/>
                  <a:pt x="45560" y="28185"/>
                </a:cubicBezTo>
                <a:cubicBezTo>
                  <a:pt x="45560" y="27701"/>
                  <a:pt x="45597" y="27283"/>
                  <a:pt x="45671" y="26929"/>
                </a:cubicBezTo>
                <a:cubicBezTo>
                  <a:pt x="45746" y="26576"/>
                  <a:pt x="45858" y="26278"/>
                  <a:pt x="46006" y="26036"/>
                </a:cubicBezTo>
                <a:cubicBezTo>
                  <a:pt x="46155" y="25794"/>
                  <a:pt x="46332" y="25618"/>
                  <a:pt x="46537" y="25506"/>
                </a:cubicBezTo>
                <a:cubicBezTo>
                  <a:pt x="46741" y="25394"/>
                  <a:pt x="46974" y="25338"/>
                  <a:pt x="47234" y="25338"/>
                </a:cubicBezTo>
                <a:lnTo>
                  <a:pt x="54769" y="25338"/>
                </a:lnTo>
                <a:lnTo>
                  <a:pt x="54769" y="12949"/>
                </a:lnTo>
                <a:cubicBezTo>
                  <a:pt x="54769" y="12725"/>
                  <a:pt x="54815" y="12521"/>
                  <a:pt x="54908" y="12335"/>
                </a:cubicBezTo>
                <a:cubicBezTo>
                  <a:pt x="55001" y="12149"/>
                  <a:pt x="55178" y="11990"/>
                  <a:pt x="55438" y="11860"/>
                </a:cubicBezTo>
                <a:cubicBezTo>
                  <a:pt x="55699" y="11730"/>
                  <a:pt x="56043" y="11637"/>
                  <a:pt x="56471" y="11581"/>
                </a:cubicBezTo>
                <a:cubicBezTo>
                  <a:pt x="56899" y="11525"/>
                  <a:pt x="57429" y="11497"/>
                  <a:pt x="58061" y="11497"/>
                </a:cubicBezTo>
                <a:close/>
                <a:moveTo>
                  <a:pt x="789477" y="4968"/>
                </a:moveTo>
                <a:cubicBezTo>
                  <a:pt x="791114" y="4968"/>
                  <a:pt x="792240" y="5275"/>
                  <a:pt x="792853" y="5888"/>
                </a:cubicBezTo>
                <a:cubicBezTo>
                  <a:pt x="793467" y="6502"/>
                  <a:pt x="793774" y="7702"/>
                  <a:pt x="793774" y="9488"/>
                </a:cubicBezTo>
                <a:cubicBezTo>
                  <a:pt x="793774" y="11274"/>
                  <a:pt x="793458" y="12483"/>
                  <a:pt x="792826" y="13116"/>
                </a:cubicBezTo>
                <a:cubicBezTo>
                  <a:pt x="792193" y="13748"/>
                  <a:pt x="791040" y="14065"/>
                  <a:pt x="789365" y="14065"/>
                </a:cubicBezTo>
                <a:cubicBezTo>
                  <a:pt x="787728" y="14065"/>
                  <a:pt x="786603" y="13758"/>
                  <a:pt x="785989" y="13144"/>
                </a:cubicBezTo>
                <a:cubicBezTo>
                  <a:pt x="785375" y="12530"/>
                  <a:pt x="785068" y="11330"/>
                  <a:pt x="785068" y="9544"/>
                </a:cubicBezTo>
                <a:cubicBezTo>
                  <a:pt x="785068" y="7758"/>
                  <a:pt x="785384" y="6549"/>
                  <a:pt x="786017" y="5916"/>
                </a:cubicBezTo>
                <a:cubicBezTo>
                  <a:pt x="786649" y="5284"/>
                  <a:pt x="787803" y="4968"/>
                  <a:pt x="789477" y="4968"/>
                </a:cubicBezTo>
                <a:close/>
                <a:moveTo>
                  <a:pt x="551352" y="4968"/>
                </a:moveTo>
                <a:cubicBezTo>
                  <a:pt x="552989" y="4968"/>
                  <a:pt x="554115" y="5275"/>
                  <a:pt x="554729" y="5888"/>
                </a:cubicBezTo>
                <a:cubicBezTo>
                  <a:pt x="555342" y="6502"/>
                  <a:pt x="555649" y="7702"/>
                  <a:pt x="555649" y="9488"/>
                </a:cubicBezTo>
                <a:cubicBezTo>
                  <a:pt x="555649" y="11274"/>
                  <a:pt x="555333" y="12483"/>
                  <a:pt x="554701" y="13116"/>
                </a:cubicBezTo>
                <a:cubicBezTo>
                  <a:pt x="554068" y="13748"/>
                  <a:pt x="552915" y="14065"/>
                  <a:pt x="551240" y="14065"/>
                </a:cubicBezTo>
                <a:cubicBezTo>
                  <a:pt x="549603" y="14065"/>
                  <a:pt x="548478" y="13758"/>
                  <a:pt x="547864" y="13144"/>
                </a:cubicBezTo>
                <a:cubicBezTo>
                  <a:pt x="547250" y="12530"/>
                  <a:pt x="546943" y="11330"/>
                  <a:pt x="546943" y="9544"/>
                </a:cubicBezTo>
                <a:cubicBezTo>
                  <a:pt x="546943" y="7758"/>
                  <a:pt x="547259" y="6549"/>
                  <a:pt x="547892" y="5916"/>
                </a:cubicBezTo>
                <a:cubicBezTo>
                  <a:pt x="548524" y="5284"/>
                  <a:pt x="549678" y="4968"/>
                  <a:pt x="551352" y="4968"/>
                </a:cubicBezTo>
                <a:close/>
                <a:moveTo>
                  <a:pt x="132252" y="4968"/>
                </a:moveTo>
                <a:cubicBezTo>
                  <a:pt x="133889" y="4968"/>
                  <a:pt x="135015" y="5275"/>
                  <a:pt x="135629" y="5888"/>
                </a:cubicBezTo>
                <a:cubicBezTo>
                  <a:pt x="136243" y="6502"/>
                  <a:pt x="136550" y="7702"/>
                  <a:pt x="136550" y="9488"/>
                </a:cubicBezTo>
                <a:cubicBezTo>
                  <a:pt x="136550" y="11274"/>
                  <a:pt x="136233" y="12483"/>
                  <a:pt x="135601" y="13116"/>
                </a:cubicBezTo>
                <a:cubicBezTo>
                  <a:pt x="134968" y="13748"/>
                  <a:pt x="133815" y="14065"/>
                  <a:pt x="132141" y="14065"/>
                </a:cubicBezTo>
                <a:cubicBezTo>
                  <a:pt x="130504" y="14065"/>
                  <a:pt x="129378" y="13758"/>
                  <a:pt x="128764" y="13144"/>
                </a:cubicBezTo>
                <a:cubicBezTo>
                  <a:pt x="128150" y="12530"/>
                  <a:pt x="127843" y="11330"/>
                  <a:pt x="127843" y="9544"/>
                </a:cubicBezTo>
                <a:cubicBezTo>
                  <a:pt x="127843" y="7758"/>
                  <a:pt x="128159" y="6549"/>
                  <a:pt x="128792" y="5916"/>
                </a:cubicBezTo>
                <a:cubicBezTo>
                  <a:pt x="129425" y="5284"/>
                  <a:pt x="130578" y="4968"/>
                  <a:pt x="132252" y="4968"/>
                </a:cubicBezTo>
                <a:close/>
                <a:moveTo>
                  <a:pt x="22771" y="4968"/>
                </a:moveTo>
                <a:cubicBezTo>
                  <a:pt x="24296" y="4968"/>
                  <a:pt x="25840" y="5116"/>
                  <a:pt x="27403" y="5414"/>
                </a:cubicBezTo>
                <a:cubicBezTo>
                  <a:pt x="28966" y="5712"/>
                  <a:pt x="30445" y="6093"/>
                  <a:pt x="31840" y="6558"/>
                </a:cubicBezTo>
                <a:cubicBezTo>
                  <a:pt x="33235" y="7023"/>
                  <a:pt x="34481" y="7544"/>
                  <a:pt x="35579" y="8121"/>
                </a:cubicBezTo>
                <a:cubicBezTo>
                  <a:pt x="36677" y="8698"/>
                  <a:pt x="37402" y="9163"/>
                  <a:pt x="37756" y="9516"/>
                </a:cubicBezTo>
                <a:cubicBezTo>
                  <a:pt x="38109" y="9870"/>
                  <a:pt x="38332" y="10130"/>
                  <a:pt x="38425" y="10298"/>
                </a:cubicBezTo>
                <a:cubicBezTo>
                  <a:pt x="38518" y="10465"/>
                  <a:pt x="38602" y="10679"/>
                  <a:pt x="38677" y="10939"/>
                </a:cubicBezTo>
                <a:cubicBezTo>
                  <a:pt x="38751" y="11200"/>
                  <a:pt x="38807" y="11507"/>
                  <a:pt x="38844" y="11860"/>
                </a:cubicBezTo>
                <a:cubicBezTo>
                  <a:pt x="38881" y="12214"/>
                  <a:pt x="38900" y="12651"/>
                  <a:pt x="38900" y="13172"/>
                </a:cubicBezTo>
                <a:cubicBezTo>
                  <a:pt x="38900" y="13655"/>
                  <a:pt x="38872" y="14093"/>
                  <a:pt x="38816" y="14483"/>
                </a:cubicBezTo>
                <a:cubicBezTo>
                  <a:pt x="38760" y="14874"/>
                  <a:pt x="38677" y="15209"/>
                  <a:pt x="38565" y="15488"/>
                </a:cubicBezTo>
                <a:cubicBezTo>
                  <a:pt x="38453" y="15767"/>
                  <a:pt x="38314" y="15981"/>
                  <a:pt x="38146" y="16130"/>
                </a:cubicBezTo>
                <a:cubicBezTo>
                  <a:pt x="37979" y="16279"/>
                  <a:pt x="37784" y="16353"/>
                  <a:pt x="37560" y="16353"/>
                </a:cubicBezTo>
                <a:cubicBezTo>
                  <a:pt x="37151" y="16353"/>
                  <a:pt x="36528" y="16083"/>
                  <a:pt x="35691" y="15544"/>
                </a:cubicBezTo>
                <a:cubicBezTo>
                  <a:pt x="34854" y="15004"/>
                  <a:pt x="33802" y="14400"/>
                  <a:pt x="32537" y="13730"/>
                </a:cubicBezTo>
                <a:cubicBezTo>
                  <a:pt x="31272" y="13060"/>
                  <a:pt x="29765" y="12456"/>
                  <a:pt x="28017" y="11916"/>
                </a:cubicBezTo>
                <a:cubicBezTo>
                  <a:pt x="26268" y="11377"/>
                  <a:pt x="24277" y="11107"/>
                  <a:pt x="22045" y="11107"/>
                </a:cubicBezTo>
                <a:cubicBezTo>
                  <a:pt x="19850" y="11107"/>
                  <a:pt x="17934" y="11404"/>
                  <a:pt x="16297" y="12000"/>
                </a:cubicBezTo>
                <a:cubicBezTo>
                  <a:pt x="14659" y="12595"/>
                  <a:pt x="13301" y="13404"/>
                  <a:pt x="12222" y="14428"/>
                </a:cubicBezTo>
                <a:cubicBezTo>
                  <a:pt x="11143" y="15451"/>
                  <a:pt x="10334" y="16651"/>
                  <a:pt x="9795" y="18027"/>
                </a:cubicBezTo>
                <a:cubicBezTo>
                  <a:pt x="9255" y="19404"/>
                  <a:pt x="8985" y="20855"/>
                  <a:pt x="8985" y="22381"/>
                </a:cubicBezTo>
                <a:cubicBezTo>
                  <a:pt x="8985" y="24613"/>
                  <a:pt x="9469" y="26529"/>
                  <a:pt x="10436" y="28129"/>
                </a:cubicBezTo>
                <a:cubicBezTo>
                  <a:pt x="11404" y="29729"/>
                  <a:pt x="12687" y="31143"/>
                  <a:pt x="14287" y="32371"/>
                </a:cubicBezTo>
                <a:cubicBezTo>
                  <a:pt x="15887" y="33598"/>
                  <a:pt x="17701" y="34705"/>
                  <a:pt x="19729" y="35691"/>
                </a:cubicBezTo>
                <a:cubicBezTo>
                  <a:pt x="21757" y="36677"/>
                  <a:pt x="23822" y="37663"/>
                  <a:pt x="25924" y="38649"/>
                </a:cubicBezTo>
                <a:cubicBezTo>
                  <a:pt x="28026" y="39635"/>
                  <a:pt x="30091" y="40696"/>
                  <a:pt x="32119" y="41830"/>
                </a:cubicBezTo>
                <a:cubicBezTo>
                  <a:pt x="34147" y="42965"/>
                  <a:pt x="35960" y="44305"/>
                  <a:pt x="37560" y="45849"/>
                </a:cubicBezTo>
                <a:cubicBezTo>
                  <a:pt x="39160" y="47393"/>
                  <a:pt x="40444" y="49197"/>
                  <a:pt x="41411" y="51262"/>
                </a:cubicBezTo>
                <a:cubicBezTo>
                  <a:pt x="42379" y="53327"/>
                  <a:pt x="42862" y="55774"/>
                  <a:pt x="42862" y="58602"/>
                </a:cubicBezTo>
                <a:cubicBezTo>
                  <a:pt x="42862" y="61801"/>
                  <a:pt x="42286" y="64666"/>
                  <a:pt x="41132" y="67196"/>
                </a:cubicBezTo>
                <a:cubicBezTo>
                  <a:pt x="39979" y="69726"/>
                  <a:pt x="38360" y="71875"/>
                  <a:pt x="36277" y="73642"/>
                </a:cubicBezTo>
                <a:cubicBezTo>
                  <a:pt x="34193" y="75410"/>
                  <a:pt x="31719" y="76759"/>
                  <a:pt x="28854" y="77689"/>
                </a:cubicBezTo>
                <a:cubicBezTo>
                  <a:pt x="25989" y="78619"/>
                  <a:pt x="22864" y="79084"/>
                  <a:pt x="19478" y="79084"/>
                </a:cubicBezTo>
                <a:cubicBezTo>
                  <a:pt x="17171" y="79084"/>
                  <a:pt x="14994" y="78870"/>
                  <a:pt x="12948" y="78442"/>
                </a:cubicBezTo>
                <a:cubicBezTo>
                  <a:pt x="10902" y="78014"/>
                  <a:pt x="9078" y="77503"/>
                  <a:pt x="7478" y="76907"/>
                </a:cubicBezTo>
                <a:cubicBezTo>
                  <a:pt x="5879" y="76312"/>
                  <a:pt x="4530" y="75707"/>
                  <a:pt x="3432" y="75094"/>
                </a:cubicBezTo>
                <a:cubicBezTo>
                  <a:pt x="2335" y="74480"/>
                  <a:pt x="1581" y="73959"/>
                  <a:pt x="1172" y="73531"/>
                </a:cubicBezTo>
                <a:cubicBezTo>
                  <a:pt x="763" y="73103"/>
                  <a:pt x="465" y="72601"/>
                  <a:pt x="279" y="72024"/>
                </a:cubicBezTo>
                <a:cubicBezTo>
                  <a:pt x="93" y="71447"/>
                  <a:pt x="0" y="70731"/>
                  <a:pt x="0" y="69875"/>
                </a:cubicBezTo>
                <a:cubicBezTo>
                  <a:pt x="0" y="69243"/>
                  <a:pt x="37" y="68722"/>
                  <a:pt x="111" y="68313"/>
                </a:cubicBezTo>
                <a:cubicBezTo>
                  <a:pt x="186" y="67903"/>
                  <a:pt x="288" y="67568"/>
                  <a:pt x="418" y="67308"/>
                </a:cubicBezTo>
                <a:cubicBezTo>
                  <a:pt x="549" y="67048"/>
                  <a:pt x="716" y="66871"/>
                  <a:pt x="921" y="66778"/>
                </a:cubicBezTo>
                <a:cubicBezTo>
                  <a:pt x="1125" y="66685"/>
                  <a:pt x="1339" y="66638"/>
                  <a:pt x="1563" y="66638"/>
                </a:cubicBezTo>
                <a:cubicBezTo>
                  <a:pt x="2083" y="66638"/>
                  <a:pt x="2818" y="66964"/>
                  <a:pt x="3767" y="67615"/>
                </a:cubicBezTo>
                <a:cubicBezTo>
                  <a:pt x="4716" y="68266"/>
                  <a:pt x="5944" y="68973"/>
                  <a:pt x="7451" y="69736"/>
                </a:cubicBezTo>
                <a:cubicBezTo>
                  <a:pt x="8957" y="70499"/>
                  <a:pt x="10762" y="71205"/>
                  <a:pt x="12864" y="71857"/>
                </a:cubicBezTo>
                <a:cubicBezTo>
                  <a:pt x="14966" y="72508"/>
                  <a:pt x="17413" y="72833"/>
                  <a:pt x="20203" y="72833"/>
                </a:cubicBezTo>
                <a:cubicBezTo>
                  <a:pt x="22473" y="72833"/>
                  <a:pt x="24557" y="72526"/>
                  <a:pt x="26454" y="71912"/>
                </a:cubicBezTo>
                <a:cubicBezTo>
                  <a:pt x="28352" y="71298"/>
                  <a:pt x="29989" y="70415"/>
                  <a:pt x="31365" y="69261"/>
                </a:cubicBezTo>
                <a:cubicBezTo>
                  <a:pt x="32742" y="68108"/>
                  <a:pt x="33812" y="66685"/>
                  <a:pt x="34574" y="64992"/>
                </a:cubicBezTo>
                <a:cubicBezTo>
                  <a:pt x="35337" y="63299"/>
                  <a:pt x="35719" y="61373"/>
                  <a:pt x="35719" y="59215"/>
                </a:cubicBezTo>
                <a:cubicBezTo>
                  <a:pt x="35719" y="56983"/>
                  <a:pt x="35235" y="55067"/>
                  <a:pt x="34268" y="53467"/>
                </a:cubicBezTo>
                <a:cubicBezTo>
                  <a:pt x="33300" y="51867"/>
                  <a:pt x="32026" y="50463"/>
                  <a:pt x="30445" y="49253"/>
                </a:cubicBezTo>
                <a:cubicBezTo>
                  <a:pt x="28863" y="48044"/>
                  <a:pt x="27068" y="46946"/>
                  <a:pt x="25059" y="45960"/>
                </a:cubicBezTo>
                <a:cubicBezTo>
                  <a:pt x="23050" y="44974"/>
                  <a:pt x="20994" y="43988"/>
                  <a:pt x="18892" y="43003"/>
                </a:cubicBezTo>
                <a:cubicBezTo>
                  <a:pt x="16790" y="42017"/>
                  <a:pt x="14734" y="40947"/>
                  <a:pt x="12725" y="39793"/>
                </a:cubicBezTo>
                <a:cubicBezTo>
                  <a:pt x="10715" y="38640"/>
                  <a:pt x="8920" y="37291"/>
                  <a:pt x="7339" y="35747"/>
                </a:cubicBezTo>
                <a:cubicBezTo>
                  <a:pt x="5758" y="34203"/>
                  <a:pt x="4483" y="32389"/>
                  <a:pt x="3516" y="30306"/>
                </a:cubicBezTo>
                <a:cubicBezTo>
                  <a:pt x="2549" y="28222"/>
                  <a:pt x="2065" y="25748"/>
                  <a:pt x="2065" y="22883"/>
                </a:cubicBezTo>
                <a:cubicBezTo>
                  <a:pt x="2065" y="20092"/>
                  <a:pt x="2567" y="17590"/>
                  <a:pt x="3572" y="15376"/>
                </a:cubicBezTo>
                <a:cubicBezTo>
                  <a:pt x="4576" y="13162"/>
                  <a:pt x="5990" y="11284"/>
                  <a:pt x="7813" y="9739"/>
                </a:cubicBezTo>
                <a:cubicBezTo>
                  <a:pt x="9636" y="8195"/>
                  <a:pt x="11822" y="7014"/>
                  <a:pt x="14371" y="6195"/>
                </a:cubicBezTo>
                <a:cubicBezTo>
                  <a:pt x="16920" y="5377"/>
                  <a:pt x="19720" y="4968"/>
                  <a:pt x="22771" y="4968"/>
                </a:cubicBezTo>
                <a:close/>
                <a:moveTo>
                  <a:pt x="613971" y="614"/>
                </a:moveTo>
                <a:cubicBezTo>
                  <a:pt x="614641" y="614"/>
                  <a:pt x="615190" y="651"/>
                  <a:pt x="615618" y="726"/>
                </a:cubicBezTo>
                <a:cubicBezTo>
                  <a:pt x="616046" y="800"/>
                  <a:pt x="616381" y="893"/>
                  <a:pt x="616622" y="1005"/>
                </a:cubicBezTo>
                <a:cubicBezTo>
                  <a:pt x="616864" y="1117"/>
                  <a:pt x="617041" y="1265"/>
                  <a:pt x="617153" y="1451"/>
                </a:cubicBezTo>
                <a:cubicBezTo>
                  <a:pt x="617264" y="1637"/>
                  <a:pt x="617320" y="1842"/>
                  <a:pt x="617320" y="2065"/>
                </a:cubicBezTo>
                <a:lnTo>
                  <a:pt x="617320" y="77019"/>
                </a:lnTo>
                <a:cubicBezTo>
                  <a:pt x="617320" y="77279"/>
                  <a:pt x="617274" y="77503"/>
                  <a:pt x="617181" y="77689"/>
                </a:cubicBezTo>
                <a:cubicBezTo>
                  <a:pt x="617087" y="77875"/>
                  <a:pt x="616920" y="78024"/>
                  <a:pt x="616678" y="78135"/>
                </a:cubicBezTo>
                <a:cubicBezTo>
                  <a:pt x="616436" y="78247"/>
                  <a:pt x="616129" y="78331"/>
                  <a:pt x="615757" y="78386"/>
                </a:cubicBezTo>
                <a:cubicBezTo>
                  <a:pt x="615385" y="78442"/>
                  <a:pt x="614920" y="78470"/>
                  <a:pt x="614362" y="78470"/>
                </a:cubicBezTo>
                <a:cubicBezTo>
                  <a:pt x="613767" y="78470"/>
                  <a:pt x="613274" y="78442"/>
                  <a:pt x="612883" y="78386"/>
                </a:cubicBezTo>
                <a:cubicBezTo>
                  <a:pt x="612492" y="78331"/>
                  <a:pt x="612176" y="78247"/>
                  <a:pt x="611934" y="78135"/>
                </a:cubicBezTo>
                <a:cubicBezTo>
                  <a:pt x="611693" y="78024"/>
                  <a:pt x="611506" y="77875"/>
                  <a:pt x="611376" y="77689"/>
                </a:cubicBezTo>
                <a:cubicBezTo>
                  <a:pt x="611246" y="77503"/>
                  <a:pt x="611181" y="77279"/>
                  <a:pt x="611181" y="77019"/>
                </a:cubicBezTo>
                <a:lnTo>
                  <a:pt x="611181" y="69764"/>
                </a:lnTo>
                <a:cubicBezTo>
                  <a:pt x="608502" y="72666"/>
                  <a:pt x="605730" y="74945"/>
                  <a:pt x="602865" y="76600"/>
                </a:cubicBezTo>
                <a:cubicBezTo>
                  <a:pt x="600000" y="78256"/>
                  <a:pt x="596875" y="79084"/>
                  <a:pt x="593489" y="79084"/>
                </a:cubicBezTo>
                <a:cubicBezTo>
                  <a:pt x="589843" y="79084"/>
                  <a:pt x="586736" y="78377"/>
                  <a:pt x="584169" y="76963"/>
                </a:cubicBezTo>
                <a:cubicBezTo>
                  <a:pt x="581601" y="75549"/>
                  <a:pt x="579508" y="73633"/>
                  <a:pt x="577890" y="71215"/>
                </a:cubicBezTo>
                <a:cubicBezTo>
                  <a:pt x="576271" y="68796"/>
                  <a:pt x="575090" y="65959"/>
                  <a:pt x="574346" y="62704"/>
                </a:cubicBezTo>
                <a:cubicBezTo>
                  <a:pt x="573602" y="59448"/>
                  <a:pt x="573230" y="55997"/>
                  <a:pt x="573230" y="52351"/>
                </a:cubicBezTo>
                <a:cubicBezTo>
                  <a:pt x="573230" y="48072"/>
                  <a:pt x="573695" y="44212"/>
                  <a:pt x="574625" y="40770"/>
                </a:cubicBezTo>
                <a:cubicBezTo>
                  <a:pt x="575555" y="37328"/>
                  <a:pt x="576932" y="34398"/>
                  <a:pt x="578755" y="31980"/>
                </a:cubicBezTo>
                <a:cubicBezTo>
                  <a:pt x="580578" y="29561"/>
                  <a:pt x="582829" y="27701"/>
                  <a:pt x="585508" y="26399"/>
                </a:cubicBezTo>
                <a:cubicBezTo>
                  <a:pt x="588187" y="25097"/>
                  <a:pt x="591294" y="24446"/>
                  <a:pt x="594828" y="24446"/>
                </a:cubicBezTo>
                <a:cubicBezTo>
                  <a:pt x="597879" y="24446"/>
                  <a:pt x="600670" y="25125"/>
                  <a:pt x="603200" y="26483"/>
                </a:cubicBezTo>
                <a:cubicBezTo>
                  <a:pt x="605730" y="27841"/>
                  <a:pt x="608223" y="29841"/>
                  <a:pt x="610679" y="32482"/>
                </a:cubicBezTo>
                <a:lnTo>
                  <a:pt x="610679" y="2065"/>
                </a:lnTo>
                <a:cubicBezTo>
                  <a:pt x="610679" y="1842"/>
                  <a:pt x="610725" y="1637"/>
                  <a:pt x="610818" y="1451"/>
                </a:cubicBezTo>
                <a:cubicBezTo>
                  <a:pt x="610911" y="1265"/>
                  <a:pt x="611088" y="1117"/>
                  <a:pt x="611348" y="1005"/>
                </a:cubicBezTo>
                <a:cubicBezTo>
                  <a:pt x="611609" y="893"/>
                  <a:pt x="611953" y="800"/>
                  <a:pt x="612381" y="726"/>
                </a:cubicBezTo>
                <a:cubicBezTo>
                  <a:pt x="612809" y="651"/>
                  <a:pt x="613339" y="614"/>
                  <a:pt x="613971" y="614"/>
                </a:cubicBezTo>
                <a:close/>
                <a:moveTo>
                  <a:pt x="875146" y="335"/>
                </a:moveTo>
                <a:cubicBezTo>
                  <a:pt x="875816" y="335"/>
                  <a:pt x="876365" y="363"/>
                  <a:pt x="876793" y="419"/>
                </a:cubicBezTo>
                <a:cubicBezTo>
                  <a:pt x="877220" y="475"/>
                  <a:pt x="877555" y="568"/>
                  <a:pt x="877797" y="698"/>
                </a:cubicBezTo>
                <a:cubicBezTo>
                  <a:pt x="878039" y="828"/>
                  <a:pt x="878216" y="986"/>
                  <a:pt x="878327" y="1172"/>
                </a:cubicBezTo>
                <a:cubicBezTo>
                  <a:pt x="878439" y="1358"/>
                  <a:pt x="878495" y="1563"/>
                  <a:pt x="878495" y="1786"/>
                </a:cubicBezTo>
                <a:lnTo>
                  <a:pt x="878495" y="77019"/>
                </a:lnTo>
                <a:cubicBezTo>
                  <a:pt x="878495" y="77242"/>
                  <a:pt x="878439" y="77447"/>
                  <a:pt x="878327" y="77633"/>
                </a:cubicBezTo>
                <a:cubicBezTo>
                  <a:pt x="878216" y="77819"/>
                  <a:pt x="878039" y="77968"/>
                  <a:pt x="877797" y="78079"/>
                </a:cubicBezTo>
                <a:cubicBezTo>
                  <a:pt x="877555" y="78191"/>
                  <a:pt x="877220" y="78284"/>
                  <a:pt x="876793" y="78358"/>
                </a:cubicBezTo>
                <a:cubicBezTo>
                  <a:pt x="876365" y="78433"/>
                  <a:pt x="875816" y="78470"/>
                  <a:pt x="875146" y="78470"/>
                </a:cubicBezTo>
                <a:cubicBezTo>
                  <a:pt x="874514" y="78470"/>
                  <a:pt x="873983" y="78433"/>
                  <a:pt x="873556" y="78358"/>
                </a:cubicBezTo>
                <a:cubicBezTo>
                  <a:pt x="873128" y="78284"/>
                  <a:pt x="872783" y="78191"/>
                  <a:pt x="872523" y="78079"/>
                </a:cubicBezTo>
                <a:cubicBezTo>
                  <a:pt x="872263" y="77968"/>
                  <a:pt x="872086" y="77819"/>
                  <a:pt x="871993" y="77633"/>
                </a:cubicBezTo>
                <a:cubicBezTo>
                  <a:pt x="871900" y="77447"/>
                  <a:pt x="871853" y="77242"/>
                  <a:pt x="871853" y="77019"/>
                </a:cubicBezTo>
                <a:lnTo>
                  <a:pt x="871853" y="1786"/>
                </a:lnTo>
                <a:cubicBezTo>
                  <a:pt x="871853" y="1563"/>
                  <a:pt x="871900" y="1358"/>
                  <a:pt x="871993" y="1172"/>
                </a:cubicBezTo>
                <a:cubicBezTo>
                  <a:pt x="872086" y="986"/>
                  <a:pt x="872263" y="828"/>
                  <a:pt x="872523" y="698"/>
                </a:cubicBezTo>
                <a:cubicBezTo>
                  <a:pt x="872783" y="568"/>
                  <a:pt x="873128" y="475"/>
                  <a:pt x="873556" y="419"/>
                </a:cubicBezTo>
                <a:cubicBezTo>
                  <a:pt x="873983" y="363"/>
                  <a:pt x="874514" y="335"/>
                  <a:pt x="875146" y="335"/>
                </a:cubicBezTo>
                <a:close/>
                <a:moveTo>
                  <a:pt x="246496" y="335"/>
                </a:moveTo>
                <a:cubicBezTo>
                  <a:pt x="247166" y="335"/>
                  <a:pt x="247715" y="363"/>
                  <a:pt x="248143" y="419"/>
                </a:cubicBezTo>
                <a:cubicBezTo>
                  <a:pt x="248571" y="475"/>
                  <a:pt x="248906" y="568"/>
                  <a:pt x="249147" y="698"/>
                </a:cubicBezTo>
                <a:cubicBezTo>
                  <a:pt x="249389" y="828"/>
                  <a:pt x="249566" y="986"/>
                  <a:pt x="249678" y="1172"/>
                </a:cubicBezTo>
                <a:cubicBezTo>
                  <a:pt x="249789" y="1358"/>
                  <a:pt x="249845" y="1563"/>
                  <a:pt x="249845" y="1786"/>
                </a:cubicBezTo>
                <a:lnTo>
                  <a:pt x="249845" y="77019"/>
                </a:lnTo>
                <a:cubicBezTo>
                  <a:pt x="249845" y="77242"/>
                  <a:pt x="249789" y="77447"/>
                  <a:pt x="249678" y="77633"/>
                </a:cubicBezTo>
                <a:cubicBezTo>
                  <a:pt x="249566" y="77819"/>
                  <a:pt x="249389" y="77968"/>
                  <a:pt x="249147" y="78079"/>
                </a:cubicBezTo>
                <a:cubicBezTo>
                  <a:pt x="248906" y="78191"/>
                  <a:pt x="248571" y="78284"/>
                  <a:pt x="248143" y="78358"/>
                </a:cubicBezTo>
                <a:cubicBezTo>
                  <a:pt x="247715" y="78433"/>
                  <a:pt x="247166" y="78470"/>
                  <a:pt x="246496" y="78470"/>
                </a:cubicBezTo>
                <a:cubicBezTo>
                  <a:pt x="245864" y="78470"/>
                  <a:pt x="245334" y="78433"/>
                  <a:pt x="244906" y="78358"/>
                </a:cubicBezTo>
                <a:cubicBezTo>
                  <a:pt x="244478" y="78284"/>
                  <a:pt x="244134" y="78191"/>
                  <a:pt x="243873" y="78079"/>
                </a:cubicBezTo>
                <a:cubicBezTo>
                  <a:pt x="243613" y="77968"/>
                  <a:pt x="243436" y="77819"/>
                  <a:pt x="243343" y="77633"/>
                </a:cubicBezTo>
                <a:cubicBezTo>
                  <a:pt x="243250" y="77447"/>
                  <a:pt x="243204" y="77242"/>
                  <a:pt x="243204" y="77019"/>
                </a:cubicBezTo>
                <a:lnTo>
                  <a:pt x="243204" y="1786"/>
                </a:lnTo>
                <a:cubicBezTo>
                  <a:pt x="243204" y="1563"/>
                  <a:pt x="243250" y="1358"/>
                  <a:pt x="243343" y="1172"/>
                </a:cubicBezTo>
                <a:cubicBezTo>
                  <a:pt x="243436" y="986"/>
                  <a:pt x="243613" y="828"/>
                  <a:pt x="243873" y="698"/>
                </a:cubicBezTo>
                <a:cubicBezTo>
                  <a:pt x="244134" y="568"/>
                  <a:pt x="244478" y="475"/>
                  <a:pt x="244906" y="419"/>
                </a:cubicBezTo>
                <a:cubicBezTo>
                  <a:pt x="245334" y="363"/>
                  <a:pt x="245864" y="335"/>
                  <a:pt x="246496" y="335"/>
                </a:cubicBezTo>
                <a:close/>
                <a:moveTo>
                  <a:pt x="527595" y="0"/>
                </a:moveTo>
                <a:cubicBezTo>
                  <a:pt x="528860" y="0"/>
                  <a:pt x="530088" y="121"/>
                  <a:pt x="531279" y="363"/>
                </a:cubicBezTo>
                <a:cubicBezTo>
                  <a:pt x="532469" y="605"/>
                  <a:pt x="533372" y="865"/>
                  <a:pt x="533986" y="1144"/>
                </a:cubicBezTo>
                <a:cubicBezTo>
                  <a:pt x="534599" y="1424"/>
                  <a:pt x="535009" y="1665"/>
                  <a:pt x="535213" y="1870"/>
                </a:cubicBezTo>
                <a:cubicBezTo>
                  <a:pt x="535418" y="2075"/>
                  <a:pt x="535585" y="2326"/>
                  <a:pt x="535716" y="2623"/>
                </a:cubicBezTo>
                <a:cubicBezTo>
                  <a:pt x="535846" y="2921"/>
                  <a:pt x="535939" y="3265"/>
                  <a:pt x="535995" y="3656"/>
                </a:cubicBezTo>
                <a:cubicBezTo>
                  <a:pt x="536051" y="4047"/>
                  <a:pt x="536079" y="4484"/>
                  <a:pt x="536079" y="4968"/>
                </a:cubicBezTo>
                <a:cubicBezTo>
                  <a:pt x="536079" y="5489"/>
                  <a:pt x="536051" y="5907"/>
                  <a:pt x="535995" y="6223"/>
                </a:cubicBezTo>
                <a:cubicBezTo>
                  <a:pt x="535939" y="6540"/>
                  <a:pt x="535865" y="6791"/>
                  <a:pt x="535772" y="6977"/>
                </a:cubicBezTo>
                <a:cubicBezTo>
                  <a:pt x="535679" y="7163"/>
                  <a:pt x="535567" y="7293"/>
                  <a:pt x="535437" y="7367"/>
                </a:cubicBezTo>
                <a:cubicBezTo>
                  <a:pt x="535306" y="7442"/>
                  <a:pt x="535148" y="7479"/>
                  <a:pt x="534962" y="7479"/>
                </a:cubicBezTo>
                <a:cubicBezTo>
                  <a:pt x="534665" y="7479"/>
                  <a:pt x="534311" y="7386"/>
                  <a:pt x="533902" y="7200"/>
                </a:cubicBezTo>
                <a:cubicBezTo>
                  <a:pt x="533493" y="7014"/>
                  <a:pt x="532981" y="6809"/>
                  <a:pt x="532367" y="6586"/>
                </a:cubicBezTo>
                <a:cubicBezTo>
                  <a:pt x="531753" y="6363"/>
                  <a:pt x="531028" y="6158"/>
                  <a:pt x="530191" y="5972"/>
                </a:cubicBezTo>
                <a:cubicBezTo>
                  <a:pt x="529353" y="5786"/>
                  <a:pt x="528377" y="5693"/>
                  <a:pt x="527260" y="5693"/>
                </a:cubicBezTo>
                <a:cubicBezTo>
                  <a:pt x="525698" y="5693"/>
                  <a:pt x="524377" y="5944"/>
                  <a:pt x="523298" y="6447"/>
                </a:cubicBezTo>
                <a:cubicBezTo>
                  <a:pt x="522219" y="6949"/>
                  <a:pt x="521345" y="7749"/>
                  <a:pt x="520675" y="8846"/>
                </a:cubicBezTo>
                <a:cubicBezTo>
                  <a:pt x="520005" y="9944"/>
                  <a:pt x="519531" y="11358"/>
                  <a:pt x="519252" y="13088"/>
                </a:cubicBezTo>
                <a:cubicBezTo>
                  <a:pt x="518973" y="14818"/>
                  <a:pt x="518833" y="16911"/>
                  <a:pt x="518833" y="19367"/>
                </a:cubicBezTo>
                <a:lnTo>
                  <a:pt x="518833" y="25338"/>
                </a:lnTo>
                <a:lnTo>
                  <a:pt x="531223" y="25338"/>
                </a:lnTo>
                <a:cubicBezTo>
                  <a:pt x="531483" y="25338"/>
                  <a:pt x="531707" y="25394"/>
                  <a:pt x="531893" y="25506"/>
                </a:cubicBezTo>
                <a:cubicBezTo>
                  <a:pt x="532079" y="25618"/>
                  <a:pt x="532246" y="25794"/>
                  <a:pt x="532395" y="26036"/>
                </a:cubicBezTo>
                <a:cubicBezTo>
                  <a:pt x="532544" y="26278"/>
                  <a:pt x="532655" y="26576"/>
                  <a:pt x="532730" y="26929"/>
                </a:cubicBezTo>
                <a:cubicBezTo>
                  <a:pt x="532804" y="27283"/>
                  <a:pt x="532841" y="27701"/>
                  <a:pt x="532841" y="28185"/>
                </a:cubicBezTo>
                <a:cubicBezTo>
                  <a:pt x="532841" y="29115"/>
                  <a:pt x="532693" y="29813"/>
                  <a:pt x="532395" y="30278"/>
                </a:cubicBezTo>
                <a:cubicBezTo>
                  <a:pt x="532097" y="30743"/>
                  <a:pt x="531707" y="30975"/>
                  <a:pt x="531223" y="30975"/>
                </a:cubicBezTo>
                <a:lnTo>
                  <a:pt x="518833" y="30975"/>
                </a:lnTo>
                <a:lnTo>
                  <a:pt x="518833" y="77019"/>
                </a:lnTo>
                <a:cubicBezTo>
                  <a:pt x="518833" y="77242"/>
                  <a:pt x="518777" y="77447"/>
                  <a:pt x="518666" y="77633"/>
                </a:cubicBezTo>
                <a:cubicBezTo>
                  <a:pt x="518554" y="77819"/>
                  <a:pt x="518377" y="77968"/>
                  <a:pt x="518135" y="78079"/>
                </a:cubicBezTo>
                <a:cubicBezTo>
                  <a:pt x="517894" y="78191"/>
                  <a:pt x="517549" y="78284"/>
                  <a:pt x="517103" y="78358"/>
                </a:cubicBezTo>
                <a:cubicBezTo>
                  <a:pt x="516656" y="78433"/>
                  <a:pt x="516117" y="78470"/>
                  <a:pt x="515484" y="78470"/>
                </a:cubicBezTo>
                <a:cubicBezTo>
                  <a:pt x="514852" y="78470"/>
                  <a:pt x="514322" y="78433"/>
                  <a:pt x="513894" y="78358"/>
                </a:cubicBezTo>
                <a:cubicBezTo>
                  <a:pt x="513466" y="78284"/>
                  <a:pt x="513122" y="78191"/>
                  <a:pt x="512861" y="78079"/>
                </a:cubicBezTo>
                <a:cubicBezTo>
                  <a:pt x="512601" y="77968"/>
                  <a:pt x="512424" y="77819"/>
                  <a:pt x="512331" y="77633"/>
                </a:cubicBezTo>
                <a:cubicBezTo>
                  <a:pt x="512238" y="77447"/>
                  <a:pt x="512192" y="77242"/>
                  <a:pt x="512192" y="77019"/>
                </a:cubicBezTo>
                <a:lnTo>
                  <a:pt x="512192" y="30975"/>
                </a:lnTo>
                <a:lnTo>
                  <a:pt x="504601" y="30975"/>
                </a:lnTo>
                <a:cubicBezTo>
                  <a:pt x="504080" y="30975"/>
                  <a:pt x="503681" y="30743"/>
                  <a:pt x="503401" y="30278"/>
                </a:cubicBezTo>
                <a:cubicBezTo>
                  <a:pt x="503122" y="29813"/>
                  <a:pt x="502983" y="29115"/>
                  <a:pt x="502983" y="28185"/>
                </a:cubicBezTo>
                <a:cubicBezTo>
                  <a:pt x="502983" y="27701"/>
                  <a:pt x="503020" y="27283"/>
                  <a:pt x="503094" y="26929"/>
                </a:cubicBezTo>
                <a:cubicBezTo>
                  <a:pt x="503169" y="26576"/>
                  <a:pt x="503271" y="26278"/>
                  <a:pt x="503401" y="26036"/>
                </a:cubicBezTo>
                <a:cubicBezTo>
                  <a:pt x="503532" y="25794"/>
                  <a:pt x="503699" y="25618"/>
                  <a:pt x="503904" y="25506"/>
                </a:cubicBezTo>
                <a:cubicBezTo>
                  <a:pt x="504108" y="25394"/>
                  <a:pt x="504341" y="25338"/>
                  <a:pt x="504601" y="25338"/>
                </a:cubicBezTo>
                <a:lnTo>
                  <a:pt x="512192" y="25338"/>
                </a:lnTo>
                <a:lnTo>
                  <a:pt x="512192" y="19590"/>
                </a:lnTo>
                <a:cubicBezTo>
                  <a:pt x="512192" y="16055"/>
                  <a:pt x="512508" y="13042"/>
                  <a:pt x="513140" y="10549"/>
                </a:cubicBezTo>
                <a:cubicBezTo>
                  <a:pt x="513773" y="8056"/>
                  <a:pt x="514731" y="6028"/>
                  <a:pt x="516015" y="4465"/>
                </a:cubicBezTo>
                <a:cubicBezTo>
                  <a:pt x="517298" y="2903"/>
                  <a:pt x="518907" y="1768"/>
                  <a:pt x="520842" y="1061"/>
                </a:cubicBezTo>
                <a:cubicBezTo>
                  <a:pt x="522777" y="354"/>
                  <a:pt x="525028" y="0"/>
                  <a:pt x="52759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CF281531-C117-4228-ADEF-AA871A3983CD}" type="datetime1">
              <a:rPr lang="en-US" smtClean="0"/>
              <a:t>10/15/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4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90" r:id="rId3"/>
    <p:sldLayoutId id="2147483966" r:id="rId4"/>
    <p:sldLayoutId id="2147483999" r:id="rId5"/>
    <p:sldLayoutId id="2147484026" r:id="rId6"/>
    <p:sldLayoutId id="2147484003" r:id="rId7"/>
    <p:sldLayoutId id="2147484028" r:id="rId8"/>
    <p:sldLayoutId id="2147484000" r:id="rId9"/>
    <p:sldLayoutId id="2147483968" r:id="rId10"/>
    <p:sldLayoutId id="2147484030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84" r:id="rId22"/>
    <p:sldLayoutId id="2147483980" r:id="rId23"/>
    <p:sldLayoutId id="2147483981" r:id="rId24"/>
    <p:sldLayoutId id="2147483985" r:id="rId25"/>
    <p:sldLayoutId id="2147483979" r:id="rId26"/>
    <p:sldLayoutId id="2147483991" r:id="rId2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3888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49" userDrawn="1">
          <p15:clr>
            <a:srgbClr val="F26B43"/>
          </p15:clr>
        </p15:guide>
        <p15:guide id="2" pos="560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A79A81A-59F9-4FB7-95FC-79B1B39FE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72830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592" imgH="595" progId="TCLayout.ActiveDocument.1">
                  <p:embed/>
                </p:oleObj>
              </mc:Choice>
              <mc:Fallback>
                <p:oleObj name="think-cell Slide" r:id="rId34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A79A81A-59F9-4FB7-95FC-79B1B39FE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lede 8">
            <a:extLst>
              <a:ext uri="{FF2B5EF4-FFF2-40B4-BE49-F238E27FC236}">
                <a16:creationId xmlns:a16="http://schemas.microsoft.com/office/drawing/2014/main" id="{8292A618-08F2-42FD-A234-3FCA5E8480D5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76F0AC6B-E11C-4402-9BAB-67617E3AE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400" y="1512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C85685-E58E-4B89-9E3C-FDCD16B90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0400" y="8316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55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  <p:sldLayoutId id="2147484167" r:id="rId12"/>
    <p:sldLayoutId id="2147484168" r:id="rId13"/>
    <p:sldLayoutId id="2147484169" r:id="rId14"/>
    <p:sldLayoutId id="2147484170" r:id="rId15"/>
    <p:sldLayoutId id="2147484171" r:id="rId16"/>
    <p:sldLayoutId id="2147484172" r:id="rId17"/>
    <p:sldLayoutId id="2147484173" r:id="rId18"/>
    <p:sldLayoutId id="2147484174" r:id="rId19"/>
    <p:sldLayoutId id="2147484175" r:id="rId20"/>
    <p:sldLayoutId id="2147484176" r:id="rId21"/>
    <p:sldLayoutId id="2147484177" r:id="rId22"/>
    <p:sldLayoutId id="2147484178" r:id="rId23"/>
    <p:sldLayoutId id="2147484179" r:id="rId24"/>
    <p:sldLayoutId id="2147484180" r:id="rId25"/>
    <p:sldLayoutId id="2147484181" r:id="rId26"/>
    <p:sldLayoutId id="2147484182" r:id="rId27"/>
    <p:sldLayoutId id="2147484183" r:id="rId28"/>
    <p:sldLayoutId id="2147484184" r:id="rId29"/>
    <p:sldLayoutId id="2147484185" r:id="rId30"/>
    <p:sldLayoutId id="2147484186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716400" indent="-2844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0400" indent="-2844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040400" indent="-2844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40400" indent="-2844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8292A618-08F2-42FD-A234-3FCA5E8480D5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76F0AC6B-E11C-4402-9BAB-67617E3AE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00" y="5400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C85685-E58E-4B89-9E3C-FDCD16B90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600" y="10080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err="1"/>
              <a:t>Klik</a:t>
            </a:r>
            <a:r>
              <a:rPr lang="en-US" noProof="0"/>
              <a:t> for at </a:t>
            </a:r>
            <a:r>
              <a:rPr lang="en-US" noProof="0" err="1"/>
              <a:t>redigere</a:t>
            </a:r>
            <a:r>
              <a:rPr lang="en-US" noProof="0"/>
              <a:t> </a:t>
            </a:r>
            <a:r>
              <a:rPr lang="en-US" noProof="0" err="1"/>
              <a:t>teksttypografierne</a:t>
            </a:r>
            <a:r>
              <a:rPr lang="en-US" noProof="0"/>
              <a:t> </a:t>
            </a:r>
            <a:r>
              <a:rPr lang="en-US" noProof="0" err="1"/>
              <a:t>i</a:t>
            </a:r>
            <a:r>
              <a:rPr lang="en-US" noProof="0"/>
              <a:t> </a:t>
            </a:r>
            <a:r>
              <a:rPr lang="en-US" noProof="0" err="1"/>
              <a:t>masteren</a:t>
            </a:r>
            <a:endParaRPr lang="en-US" noProof="0"/>
          </a:p>
          <a:p>
            <a:pPr lvl="1"/>
            <a:r>
              <a:rPr lang="en-US" noProof="0" err="1"/>
              <a:t>Andet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2"/>
            <a:r>
              <a:rPr lang="en-US" noProof="0" err="1"/>
              <a:t>Tredj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3"/>
            <a:r>
              <a:rPr lang="en-US" noProof="0" err="1"/>
              <a:t>Fjerd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  <a:p>
            <a:pPr lvl="4"/>
            <a:r>
              <a:rPr lang="en-US" noProof="0" err="1"/>
              <a:t>Femte</a:t>
            </a:r>
            <a:r>
              <a:rPr lang="en-US" noProof="0"/>
              <a:t> </a:t>
            </a:r>
            <a:r>
              <a:rPr lang="en-US" noProof="0" err="1"/>
              <a:t>niveau</a:t>
            </a:r>
            <a:endParaRPr lang="en-US" noProof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3773308A-2C49-49AA-B7E5-A2C551993136}" type="datetimeFigureOut">
              <a:rPr lang="en-US" smtClean="0"/>
              <a:pPr algn="r"/>
              <a:t>10/15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400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8" r:id="rId1"/>
    <p:sldLayoutId id="2147484189" r:id="rId2"/>
    <p:sldLayoutId id="2147484190" r:id="rId3"/>
    <p:sldLayoutId id="2147484191" r:id="rId4"/>
    <p:sldLayoutId id="2147484192" r:id="rId5"/>
    <p:sldLayoutId id="2147484193" r:id="rId6"/>
    <p:sldLayoutId id="2147484194" r:id="rId7"/>
    <p:sldLayoutId id="2147484195" r:id="rId8"/>
    <p:sldLayoutId id="2147484196" r:id="rId9"/>
    <p:sldLayoutId id="2147484197" r:id="rId10"/>
    <p:sldLayoutId id="2147484198" r:id="rId11"/>
    <p:sldLayoutId id="2147484199" r:id="rId12"/>
    <p:sldLayoutId id="2147484200" r:id="rId13"/>
    <p:sldLayoutId id="2147484201" r:id="rId14"/>
    <p:sldLayoutId id="2147484202" r:id="rId15"/>
    <p:sldLayoutId id="2147484203" r:id="rId16"/>
    <p:sldLayoutId id="2147484204" r:id="rId17"/>
    <p:sldLayoutId id="2147484205" r:id="rId18"/>
    <p:sldLayoutId id="2147484206" r:id="rId19"/>
    <p:sldLayoutId id="2147484207" r:id="rId20"/>
    <p:sldLayoutId id="2147484208" r:id="rId21"/>
    <p:sldLayoutId id="2147484209" r:id="rId22"/>
    <p:sldLayoutId id="2147484210" r:id="rId23"/>
    <p:sldLayoutId id="2147484211" r:id="rId24"/>
    <p:sldLayoutId id="2147484212" r:id="rId25"/>
    <p:sldLayoutId id="2147484213" r:id="rId26"/>
    <p:sldLayoutId id="2147484214" r:id="rId27"/>
    <p:sldLayoutId id="2147484215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8600" y="3178175"/>
            <a:ext cx="1066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62100" y="3178175"/>
            <a:ext cx="1447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76600" y="3178175"/>
            <a:ext cx="1066800" cy="1825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392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4572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indent="-142875" algn="l" defTabSz="4572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14300" algn="l" defTabSz="457200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114300" algn="l" defTabSz="4572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8">
            <a:extLst>
              <a:ext uri="{FF2B5EF4-FFF2-40B4-BE49-F238E27FC236}">
                <a16:creationId xmlns:a16="http://schemas.microsoft.com/office/drawing/2014/main" id="{8292A618-08F2-42FD-A234-3FCA5E8480D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634464" y="260463"/>
            <a:ext cx="1332000" cy="306207"/>
          </a:xfrm>
          <a:prstGeom prst="rect">
            <a:avLst/>
          </a:prstGeom>
        </p:spPr>
      </p:pic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76F0AC6B-E11C-4402-9BAB-67617E3AE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600" y="540000"/>
            <a:ext cx="6775200" cy="529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US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9C85685-E58E-4B89-9E3C-FDCD16B904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7600" y="1008000"/>
            <a:ext cx="6775200" cy="374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F5DF5C1-473F-44FA-8157-BBC4F29B6B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5030" y="4708922"/>
            <a:ext cx="2057400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r"/>
            <a:fld id="{A0100651-2F27-4447-8572-1E2FD0DB166D}" type="datetime1">
              <a:rPr lang="en-US" smtClean="0"/>
              <a:t>10/15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22DED2-FFCE-4F2A-A4C4-30448AD0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2352" y="4704900"/>
            <a:ext cx="6154048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5AC6019-F29D-411F-882E-88576803A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3356" y="4708922"/>
            <a:ext cx="409473" cy="208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fld id="{24E63CB2-98B0-49EC-843D-EA0792C8B4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25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  <p:sldLayoutId id="2147484241" r:id="rId12"/>
    <p:sldLayoutId id="2147484242" r:id="rId13"/>
    <p:sldLayoutId id="2147484243" r:id="rId14"/>
    <p:sldLayoutId id="2147484244" r:id="rId15"/>
    <p:sldLayoutId id="2147484245" r:id="rId16"/>
    <p:sldLayoutId id="2147484246" r:id="rId17"/>
    <p:sldLayoutId id="2147484247" r:id="rId18"/>
    <p:sldLayoutId id="2147484248" r:id="rId19"/>
    <p:sldLayoutId id="2147484249" r:id="rId20"/>
    <p:sldLayoutId id="2147484250" r:id="rId21"/>
    <p:sldLayoutId id="2147484251" r:id="rId22"/>
    <p:sldLayoutId id="2147484252" r:id="rId23"/>
    <p:sldLayoutId id="2147484253" r:id="rId24"/>
    <p:sldLayoutId id="2147484254" r:id="rId25"/>
    <p:sldLayoutId id="2147484255" r:id="rId26"/>
    <p:sldLayoutId id="2147484256" r:id="rId27"/>
    <p:sldLayoutId id="2147484257" r:id="rId28"/>
    <p:sldLayoutId id="2147484258" r:id="rId2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79388" algn="l" defTabSz="914400" rtl="0" eaLnBrk="1" latinLnBrk="0" hangingPunct="1">
        <a:lnSpc>
          <a:spcPct val="130000"/>
        </a:lnSpc>
        <a:spcBef>
          <a:spcPts val="0"/>
        </a:spcBef>
        <a:buFont typeface="Arial" panose="020B0604020202020204" pitchFamily="34" charset="0"/>
        <a:buChar char="•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22300" indent="-174625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4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52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5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18" Type="http://schemas.openxmlformats.org/officeDocument/2006/relationships/image" Target="../media/image38.jp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6.png"/><Relationship Id="rId1" Type="http://schemas.openxmlformats.org/officeDocument/2006/relationships/slideLayout" Target="../slideLayouts/slideLayout14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13" Type="http://schemas.openxmlformats.org/officeDocument/2006/relationships/image" Target="../media/image190.png"/><Relationship Id="rId18" Type="http://schemas.openxmlformats.org/officeDocument/2006/relationships/image" Target="../media/image220.png"/><Relationship Id="rId3" Type="http://schemas.openxmlformats.org/officeDocument/2006/relationships/image" Target="../media/image28.png"/><Relationship Id="rId21" Type="http://schemas.openxmlformats.org/officeDocument/2006/relationships/image" Target="../media/image40.png"/><Relationship Id="rId7" Type="http://schemas.openxmlformats.org/officeDocument/2006/relationships/image" Target="../media/image160.png"/><Relationship Id="rId12" Type="http://schemas.openxmlformats.org/officeDocument/2006/relationships/customXml" Target="../ink/ink6.xml"/><Relationship Id="rId17" Type="http://schemas.openxmlformats.org/officeDocument/2006/relationships/customXml" Target="../ink/ink8.xml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9.png"/><Relationship Id="rId20" Type="http://schemas.openxmlformats.org/officeDocument/2006/relationships/image" Target="../media/image230.png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3.xml"/><Relationship Id="rId11" Type="http://schemas.openxmlformats.org/officeDocument/2006/relationships/image" Target="../media/image1810.png"/><Relationship Id="rId5" Type="http://schemas.openxmlformats.org/officeDocument/2006/relationships/image" Target="../media/image15.png"/><Relationship Id="rId15" Type="http://schemas.openxmlformats.org/officeDocument/2006/relationships/image" Target="../media/image200.png"/><Relationship Id="rId10" Type="http://schemas.openxmlformats.org/officeDocument/2006/relationships/customXml" Target="../ink/ink5.xml"/><Relationship Id="rId19" Type="http://schemas.openxmlformats.org/officeDocument/2006/relationships/customXml" Target="../ink/ink9.xml"/><Relationship Id="rId4" Type="http://schemas.openxmlformats.org/officeDocument/2006/relationships/customXml" Target="../ink/ink2.xml"/><Relationship Id="rId9" Type="http://schemas.openxmlformats.org/officeDocument/2006/relationships/image" Target="../media/image171.png"/><Relationship Id="rId14" Type="http://schemas.openxmlformats.org/officeDocument/2006/relationships/customXml" Target="../ink/ink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4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48.png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-41005"/>
            <a:ext cx="5744528" cy="3526454"/>
          </a:xfrm>
          <a:custGeom>
            <a:avLst/>
            <a:gdLst/>
            <a:ahLst/>
            <a:cxnLst/>
            <a:rect l="l" t="t" r="r" b="b"/>
            <a:pathLst>
              <a:path w="11489055" h="7052907">
                <a:moveTo>
                  <a:pt x="0" y="0"/>
                </a:moveTo>
                <a:lnTo>
                  <a:pt x="11489055" y="0"/>
                </a:lnTo>
                <a:lnTo>
                  <a:pt x="11489055" y="7052906"/>
                </a:lnTo>
                <a:lnTo>
                  <a:pt x="0" y="705290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t="-4519" b="-4519"/>
            </a:stretch>
          </a:blipFill>
        </p:spPr>
      </p:sp>
      <p:grpSp>
        <p:nvGrpSpPr>
          <p:cNvPr id="3" name="Group 3"/>
          <p:cNvGrpSpPr/>
          <p:nvPr/>
        </p:nvGrpSpPr>
        <p:grpSpPr>
          <a:xfrm rot="-2492414">
            <a:off x="3016515" y="-442796"/>
            <a:ext cx="7722334" cy="6605013"/>
            <a:chOff x="0" y="0"/>
            <a:chExt cx="4067731" cy="3479184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067732" cy="3479184"/>
            </a:xfrm>
            <a:custGeom>
              <a:avLst/>
              <a:gdLst/>
              <a:ahLst/>
              <a:cxnLst/>
              <a:rect l="l" t="t" r="r" b="b"/>
              <a:pathLst>
                <a:path w="4067732" h="3479184">
                  <a:moveTo>
                    <a:pt x="0" y="0"/>
                  </a:moveTo>
                  <a:lnTo>
                    <a:pt x="4067732" y="0"/>
                  </a:lnTo>
                  <a:lnTo>
                    <a:pt x="4067732" y="3479184"/>
                  </a:lnTo>
                  <a:lnTo>
                    <a:pt x="0" y="3479184"/>
                  </a:lnTo>
                  <a:close/>
                </a:path>
              </a:pathLst>
            </a:custGeom>
            <a:solidFill>
              <a:srgbClr val="FFFFFF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4067731" cy="3517284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050"/>
                </a:lnSpc>
              </a:pPr>
              <a:r>
                <a:rPr lang="en-US" sz="750">
                  <a:solidFill>
                    <a:srgbClr val="FFFFFF"/>
                  </a:solidFill>
                  <a:latin typeface="Public Sans"/>
                  <a:ea typeface="Public Sans"/>
                  <a:cs typeface="Public Sans"/>
                  <a:sym typeface="Public Sans"/>
                </a:rPr>
                <a:t>bvbn</a:t>
              </a:r>
            </a:p>
          </p:txBody>
        </p:sp>
      </p:grpSp>
      <p:grpSp>
        <p:nvGrpSpPr>
          <p:cNvPr id="6" name="Group 6"/>
          <p:cNvGrpSpPr/>
          <p:nvPr/>
        </p:nvGrpSpPr>
        <p:grpSpPr>
          <a:xfrm rot="-665855">
            <a:off x="-3217972" y="442180"/>
            <a:ext cx="6956044" cy="6086538"/>
            <a:chOff x="0" y="0"/>
            <a:chExt cx="812800" cy="7112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812800" cy="711200"/>
            </a:xfrm>
            <a:custGeom>
              <a:avLst/>
              <a:gdLst/>
              <a:ahLst/>
              <a:cxnLst/>
              <a:rect l="l" t="t" r="r" b="b"/>
              <a:pathLst>
                <a:path w="812800" h="711200">
                  <a:moveTo>
                    <a:pt x="406400" y="0"/>
                  </a:moveTo>
                  <a:lnTo>
                    <a:pt x="812800" y="711200"/>
                  </a:lnTo>
                  <a:lnTo>
                    <a:pt x="0" y="711200"/>
                  </a:lnTo>
                  <a:lnTo>
                    <a:pt x="406400" y="0"/>
                  </a:lnTo>
                  <a:close/>
                </a:path>
              </a:pathLst>
            </a:custGeom>
            <a:solidFill>
              <a:srgbClr val="052896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127000" y="292100"/>
              <a:ext cx="558800" cy="36830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050"/>
                </a:lnSpc>
              </a:pPr>
              <a:endParaRPr sz="9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9" name="Group 9"/>
          <p:cNvGrpSpPr/>
          <p:nvPr/>
        </p:nvGrpSpPr>
        <p:grpSpPr>
          <a:xfrm rot="1074658">
            <a:off x="-1467736" y="-848711"/>
            <a:ext cx="3855463" cy="3373531"/>
            <a:chOff x="0" y="0"/>
            <a:chExt cx="812800" cy="71120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812800" cy="711200"/>
            </a:xfrm>
            <a:custGeom>
              <a:avLst/>
              <a:gdLst/>
              <a:ahLst/>
              <a:cxnLst/>
              <a:rect l="l" t="t" r="r" b="b"/>
              <a:pathLst>
                <a:path w="812800" h="711200">
                  <a:moveTo>
                    <a:pt x="406400" y="711200"/>
                  </a:moveTo>
                  <a:lnTo>
                    <a:pt x="812800" y="0"/>
                  </a:lnTo>
                  <a:lnTo>
                    <a:pt x="0" y="0"/>
                  </a:lnTo>
                  <a:lnTo>
                    <a:pt x="406400" y="711200"/>
                  </a:lnTo>
                  <a:close/>
                </a:path>
              </a:pathLst>
            </a:custGeom>
            <a:solidFill>
              <a:srgbClr val="EA4B33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127000" y="12700"/>
              <a:ext cx="558800" cy="368300"/>
            </a:xfrm>
            <a:prstGeom prst="rect">
              <a:avLst/>
            </a:prstGeom>
          </p:spPr>
          <p:txBody>
            <a:bodyPr lIns="25400" tIns="25400" rIns="25400" bIns="25400" rtlCol="0" anchor="ctr"/>
            <a:lstStyle/>
            <a:p>
              <a:pPr algn="ctr">
                <a:lnSpc>
                  <a:spcPts val="1050"/>
                </a:lnSpc>
              </a:pPr>
              <a:endParaRPr sz="9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2" name="Freeform 12"/>
          <p:cNvSpPr/>
          <p:nvPr/>
        </p:nvSpPr>
        <p:spPr>
          <a:xfrm>
            <a:off x="5092912" y="412052"/>
            <a:ext cx="3321484" cy="1896466"/>
          </a:xfrm>
          <a:custGeom>
            <a:avLst/>
            <a:gdLst/>
            <a:ahLst/>
            <a:cxnLst/>
            <a:rect l="l" t="t" r="r" b="b"/>
            <a:pathLst>
              <a:path w="6642968" h="3792931">
                <a:moveTo>
                  <a:pt x="0" y="0"/>
                </a:moveTo>
                <a:lnTo>
                  <a:pt x="6642968" y="0"/>
                </a:lnTo>
                <a:lnTo>
                  <a:pt x="6642968" y="3792931"/>
                </a:lnTo>
                <a:lnTo>
                  <a:pt x="0" y="379293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 l="-203" r="-6936"/>
            </a:stretch>
          </a:blipFill>
        </p:spPr>
      </p:sp>
      <p:sp>
        <p:nvSpPr>
          <p:cNvPr id="14" name="TextBox 14"/>
          <p:cNvSpPr txBox="1"/>
          <p:nvPr/>
        </p:nvSpPr>
        <p:spPr>
          <a:xfrm>
            <a:off x="5306552" y="3825886"/>
            <a:ext cx="3142261" cy="5632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257"/>
              </a:lnSpc>
            </a:pPr>
            <a:r>
              <a:rPr lang="en-US" sz="1612" dirty="0">
                <a:solidFill>
                  <a:srgbClr val="052896"/>
                </a:solidFill>
                <a:latin typeface="Canva Sans"/>
                <a:ea typeface="Canva Sans"/>
                <a:cs typeface="Canva Sans"/>
                <a:sym typeface="Canva Sans"/>
              </a:rPr>
              <a:t>Connor Garnett</a:t>
            </a:r>
          </a:p>
          <a:p>
            <a:pPr algn="ctr">
              <a:lnSpc>
                <a:spcPts val="2257"/>
              </a:lnSpc>
            </a:pPr>
            <a:r>
              <a:rPr lang="en-US" sz="1612" dirty="0">
                <a:solidFill>
                  <a:srgbClr val="052896"/>
                </a:solidFill>
                <a:latin typeface="Canva Sans"/>
                <a:ea typeface="Canva Sans"/>
                <a:cs typeface="Canva Sans"/>
                <a:sym typeface="Canva Sans"/>
              </a:rPr>
              <a:t>Business Development Manage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F4A0546-76A3-6C27-83EB-004C5F1735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5834" y="2308518"/>
            <a:ext cx="3321484" cy="142240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DEDC69E3-BCA6-D3B1-CACF-07963A8F76FF}"/>
              </a:ext>
            </a:extLst>
          </p:cNvPr>
          <p:cNvSpPr/>
          <p:nvPr/>
        </p:nvSpPr>
        <p:spPr>
          <a:xfrm>
            <a:off x="1729886" y="1014305"/>
            <a:ext cx="5691687" cy="3977303"/>
          </a:xfrm>
          <a:prstGeom prst="triangle">
            <a:avLst/>
          </a:prstGeom>
          <a:solidFill>
            <a:srgbClr val="7FCD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A9BFBA-ED5A-F382-1B5B-F1B87A154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12" y="469782"/>
            <a:ext cx="8654265" cy="372314"/>
          </a:xfrm>
        </p:spPr>
        <p:txBody>
          <a:bodyPr/>
          <a:lstStyle/>
          <a:p>
            <a:r>
              <a:rPr lang="en-US" dirty="0"/>
              <a:t>Application sectors</a:t>
            </a:r>
            <a:br>
              <a:rPr lang="en-US" dirty="0"/>
            </a:br>
            <a:endParaRPr lang="da-DK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22ECA12-38B2-BBB2-C062-CDE16A9785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8938210"/>
              </p:ext>
            </p:extLst>
          </p:nvPr>
        </p:nvGraphicFramePr>
        <p:xfrm>
          <a:off x="1770666" y="1562574"/>
          <a:ext cx="4770654" cy="3340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83CD3CE-E6AC-5019-66CA-CC2C417C5227}"/>
              </a:ext>
            </a:extLst>
          </p:cNvPr>
          <p:cNvCxnSpPr>
            <a:cxnSpLocks/>
          </p:cNvCxnSpPr>
          <p:nvPr/>
        </p:nvCxnSpPr>
        <p:spPr>
          <a:xfrm flipH="1">
            <a:off x="490965" y="4295116"/>
            <a:ext cx="251" cy="0"/>
          </a:xfrm>
          <a:prstGeom prst="line">
            <a:avLst/>
          </a:prstGeom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4F40E07-5023-643E-071D-CBC8CF23AA29}"/>
              </a:ext>
            </a:extLst>
          </p:cNvPr>
          <p:cNvCxnSpPr>
            <a:cxnSpLocks/>
          </p:cNvCxnSpPr>
          <p:nvPr/>
        </p:nvCxnSpPr>
        <p:spPr>
          <a:xfrm flipH="1">
            <a:off x="490964" y="2935516"/>
            <a:ext cx="251" cy="0"/>
          </a:xfrm>
          <a:prstGeom prst="line">
            <a:avLst/>
          </a:prstGeom>
          <a:ln w="254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B8394798-83D0-FF6A-6B6C-5DEF1C3787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299" y="2695930"/>
            <a:ext cx="951230" cy="5802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2FE154-2BB0-3754-D87C-C981E63F01A3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585261" y="1010116"/>
            <a:ext cx="812024" cy="9183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63F774D-D997-CE6E-4665-C0419CEC3B60}"/>
              </a:ext>
            </a:extLst>
          </p:cNvPr>
          <p:cNvSpPr txBox="1"/>
          <p:nvPr/>
        </p:nvSpPr>
        <p:spPr>
          <a:xfrm>
            <a:off x="225222" y="1919802"/>
            <a:ext cx="15321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>
                <a:solidFill>
                  <a:schemeClr val="accent1"/>
                </a:solidFill>
                <a:latin typeface="Calibri Light" pitchFamily="34" charset="0"/>
              </a:rPr>
              <a:t>MULTICAL® 803</a:t>
            </a:r>
            <a:endParaRPr lang="en-US" sz="1600" dirty="0">
              <a:solidFill>
                <a:schemeClr val="accent1"/>
              </a:solidFill>
              <a:latin typeface="Calibri Light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8ABF7D6-2D42-80BE-7717-0DE05F555478}"/>
              </a:ext>
            </a:extLst>
          </p:cNvPr>
          <p:cNvSpPr txBox="1"/>
          <p:nvPr/>
        </p:nvSpPr>
        <p:spPr>
          <a:xfrm>
            <a:off x="7596145" y="3269123"/>
            <a:ext cx="14715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Calibri Light" pitchFamily="34" charset="0"/>
              </a:rPr>
              <a:t>MULTICAL® 60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C31F01-A530-00FA-0637-98A77218A262}"/>
              </a:ext>
            </a:extLst>
          </p:cNvPr>
          <p:cNvSpPr txBox="1"/>
          <p:nvPr/>
        </p:nvSpPr>
        <p:spPr>
          <a:xfrm>
            <a:off x="235488" y="3396070"/>
            <a:ext cx="15115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Calibri Light" pitchFamily="34" charset="0"/>
              </a:rPr>
              <a:t>MULTICAL® 4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996607-C6D8-4A19-4DC1-0F70D4E4E800}"/>
              </a:ext>
            </a:extLst>
          </p:cNvPr>
          <p:cNvSpPr txBox="1"/>
          <p:nvPr/>
        </p:nvSpPr>
        <p:spPr>
          <a:xfrm>
            <a:off x="7596155" y="4694011"/>
            <a:ext cx="1471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Calibri Light" pitchFamily="34" charset="0"/>
              </a:rPr>
              <a:t>MULTICAL® 303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93549DF-532C-583E-6649-D2ACCCBC455B}"/>
              </a:ext>
            </a:extLst>
          </p:cNvPr>
          <p:cNvCxnSpPr>
            <a:cxnSpLocks/>
          </p:cNvCxnSpPr>
          <p:nvPr/>
        </p:nvCxnSpPr>
        <p:spPr>
          <a:xfrm>
            <a:off x="6904041" y="1834952"/>
            <a:ext cx="0" cy="2420107"/>
          </a:xfrm>
          <a:prstGeom prst="straightConnector1">
            <a:avLst/>
          </a:prstGeom>
          <a:ln>
            <a:solidFill>
              <a:srgbClr val="009BA6"/>
            </a:solidFill>
            <a:headEnd type="triangle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EBCE9004-8C24-549E-19A1-B43470A799DA}"/>
              </a:ext>
            </a:extLst>
          </p:cNvPr>
          <p:cNvCxnSpPr>
            <a:cxnSpLocks/>
          </p:cNvCxnSpPr>
          <p:nvPr/>
        </p:nvCxnSpPr>
        <p:spPr>
          <a:xfrm>
            <a:off x="1998837" y="2881105"/>
            <a:ext cx="0" cy="1686774"/>
          </a:xfrm>
          <a:prstGeom prst="straightConnector1">
            <a:avLst/>
          </a:prstGeom>
          <a:ln>
            <a:solidFill>
              <a:srgbClr val="009BA6"/>
            </a:solidFill>
            <a:headEnd type="triangle"/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5758047-2458-89E6-D3EF-3E8B092FF644}"/>
              </a:ext>
            </a:extLst>
          </p:cNvPr>
          <p:cNvCxnSpPr>
            <a:cxnSpLocks/>
          </p:cNvCxnSpPr>
          <p:nvPr/>
        </p:nvCxnSpPr>
        <p:spPr>
          <a:xfrm>
            <a:off x="3119361" y="1000134"/>
            <a:ext cx="0" cy="1150535"/>
          </a:xfrm>
          <a:prstGeom prst="straightConnector1">
            <a:avLst/>
          </a:prstGeom>
          <a:ln>
            <a:solidFill>
              <a:srgbClr val="009BA6"/>
            </a:solidFill>
            <a:headEnd type="triangle"/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6D74D8A-7B6D-8E05-07FA-4FC556BB046B}"/>
              </a:ext>
            </a:extLst>
          </p:cNvPr>
          <p:cNvCxnSpPr>
            <a:cxnSpLocks/>
          </p:cNvCxnSpPr>
          <p:nvPr/>
        </p:nvCxnSpPr>
        <p:spPr>
          <a:xfrm flipH="1" flipV="1">
            <a:off x="1712344" y="3157265"/>
            <a:ext cx="5769338" cy="15281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2A81F33-9102-1022-2101-B64EA8E87FFF}"/>
              </a:ext>
            </a:extLst>
          </p:cNvPr>
          <p:cNvCxnSpPr>
            <a:cxnSpLocks/>
          </p:cNvCxnSpPr>
          <p:nvPr/>
        </p:nvCxnSpPr>
        <p:spPr>
          <a:xfrm flipH="1" flipV="1">
            <a:off x="1669776" y="2202716"/>
            <a:ext cx="5769338" cy="1946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6BBDBDC-685F-8451-4E3C-CA03738217D8}"/>
              </a:ext>
            </a:extLst>
          </p:cNvPr>
          <p:cNvCxnSpPr>
            <a:cxnSpLocks/>
          </p:cNvCxnSpPr>
          <p:nvPr/>
        </p:nvCxnSpPr>
        <p:spPr>
          <a:xfrm flipH="1">
            <a:off x="1712344" y="4107636"/>
            <a:ext cx="5769338" cy="12410"/>
          </a:xfrm>
          <a:prstGeom prst="line">
            <a:avLst/>
          </a:prstGeom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D2C158F-7AA5-AA8E-174B-66987E6FFF20}"/>
              </a:ext>
            </a:extLst>
          </p:cNvPr>
          <p:cNvCxnSpPr>
            <a:cxnSpLocks/>
          </p:cNvCxnSpPr>
          <p:nvPr/>
        </p:nvCxnSpPr>
        <p:spPr>
          <a:xfrm>
            <a:off x="7417512" y="3829314"/>
            <a:ext cx="0" cy="1154000"/>
          </a:xfrm>
          <a:prstGeom prst="straightConnector1">
            <a:avLst/>
          </a:prstGeom>
          <a:ln>
            <a:solidFill>
              <a:srgbClr val="009BA6"/>
            </a:solidFill>
            <a:headEnd type="triangle"/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F86F260-5677-EDEE-62B1-726FFB734891}"/>
              </a:ext>
            </a:extLst>
          </p:cNvPr>
          <p:cNvSpPr txBox="1"/>
          <p:nvPr/>
        </p:nvSpPr>
        <p:spPr>
          <a:xfrm>
            <a:off x="3451963" y="1536485"/>
            <a:ext cx="2243136" cy="46166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chemeClr val="bg1"/>
                </a:solidFill>
              </a:rPr>
              <a:t>Industr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9C55686-9579-8917-378D-884758650598}"/>
              </a:ext>
            </a:extLst>
          </p:cNvPr>
          <p:cNvSpPr txBox="1"/>
          <p:nvPr/>
        </p:nvSpPr>
        <p:spPr>
          <a:xfrm>
            <a:off x="3460789" y="2465098"/>
            <a:ext cx="2243137" cy="46166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3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a-DK" sz="2400" dirty="0">
                <a:solidFill>
                  <a:schemeClr val="bg1"/>
                </a:solidFill>
              </a:rPr>
              <a:t>Househol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10E5299-E95C-35F8-E37F-CE26EC1760E3}"/>
              </a:ext>
            </a:extLst>
          </p:cNvPr>
          <p:cNvSpPr txBox="1"/>
          <p:nvPr/>
        </p:nvSpPr>
        <p:spPr>
          <a:xfrm>
            <a:off x="3475445" y="3393711"/>
            <a:ext cx="2243136" cy="46166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ommercial</a:t>
            </a:r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8219DC3-48E3-35DF-5865-CA6000BEF63B}"/>
              </a:ext>
            </a:extLst>
          </p:cNvPr>
          <p:cNvSpPr txBox="1"/>
          <p:nvPr/>
        </p:nvSpPr>
        <p:spPr>
          <a:xfrm>
            <a:off x="2320369" y="4322325"/>
            <a:ext cx="4484012" cy="46166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da-DK" sz="2400" dirty="0">
                <a:solidFill>
                  <a:schemeClr val="bg1"/>
                </a:solidFill>
              </a:rPr>
              <a:t>Submetering r</a:t>
            </a:r>
            <a:r>
              <a:rPr lang="en-US" sz="2400" dirty="0" err="1">
                <a:solidFill>
                  <a:schemeClr val="bg1"/>
                </a:solidFill>
              </a:rPr>
              <a:t>esidential</a:t>
            </a:r>
            <a:endParaRPr lang="da-DK" sz="2400" dirty="0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042B8D5-1243-507A-3394-CEA83FB15F6C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7747451" y="4169584"/>
            <a:ext cx="1168926" cy="60316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0684F29-C97A-D7F7-7E4A-E170D19FC3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8197" y="2719074"/>
            <a:ext cx="1068628" cy="65186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09476F1-FA11-BEA5-FD5B-B4499C3DD2C8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8511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5553A0-7DA4-FBDA-F851-B871C1CE2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isto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1E9E95-2F1F-C2AF-4B6F-CA79F07873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a-DK" dirty="0"/>
              <a:t>Ultrasonic</a:t>
            </a:r>
          </a:p>
          <a:p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67C5E7-9CB8-2ADE-717C-A0101BFB17D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dirty="0"/>
              <a:t>Mechanical Energy Meter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320471-2CEB-4A07-6108-A9100103AE9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MID004 Ultrasonic energy meters &amp; components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1ABF6567-A548-977A-ECC4-22492B472E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1812" y="1907252"/>
            <a:ext cx="4086225" cy="2424112"/>
          </a:xfrm>
          <a:custGeom>
            <a:avLst/>
            <a:gdLst/>
            <a:ahLst/>
            <a:cxnLst/>
            <a:rect l="l" t="t" r="r" b="b"/>
            <a:pathLst>
              <a:path w="6714054" h="8399532">
                <a:moveTo>
                  <a:pt x="0" y="0"/>
                </a:moveTo>
                <a:lnTo>
                  <a:pt x="6714053" y="0"/>
                </a:lnTo>
                <a:lnTo>
                  <a:pt x="6714053" y="8399532"/>
                </a:lnTo>
                <a:lnTo>
                  <a:pt x="0" y="839953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ECA738-DF6B-6AF5-1D3A-50BD052E72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2277987"/>
            <a:ext cx="4127350" cy="16826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B8FBA71-1BED-E784-2462-DCE020146A68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131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3E8DFA-F4B7-7BA0-DF47-71FD8AA1B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909" y="539999"/>
            <a:ext cx="8654265" cy="939395"/>
          </a:xfrm>
        </p:spPr>
        <p:txBody>
          <a:bodyPr/>
          <a:lstStyle/>
          <a:p>
            <a:r>
              <a:rPr lang="en-US" dirty="0"/>
              <a:t>Installation, best practice and common mistakes:</a:t>
            </a:r>
            <a:br>
              <a:rPr lang="en-US" sz="2000" dirty="0"/>
            </a:br>
            <a:endParaRPr lang="da-DK" sz="2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CB3683-0012-0855-CB3C-6DAAE11C30DF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436ED5D-0992-93CA-FC83-5F6BBF4188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6" y="1406013"/>
            <a:ext cx="3897179" cy="256523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E490C80-E404-86F5-EABF-4D7AA6123A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9922" y="1873413"/>
            <a:ext cx="4785137" cy="21764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7D775A-94F1-0495-B7DD-39508702CC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6217" y="1103727"/>
            <a:ext cx="1009702" cy="50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46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/>
          <p:cNvSpPr/>
          <p:nvPr/>
        </p:nvSpPr>
        <p:spPr>
          <a:xfrm>
            <a:off x="4115712" y="623344"/>
            <a:ext cx="1490647" cy="1610204"/>
          </a:xfrm>
          <a:custGeom>
            <a:avLst/>
            <a:gdLst/>
            <a:ahLst/>
            <a:cxnLst/>
            <a:rect l="l" t="t" r="r" b="b"/>
            <a:pathLst>
              <a:path w="2981294" h="3220408">
                <a:moveTo>
                  <a:pt x="0" y="0"/>
                </a:moveTo>
                <a:lnTo>
                  <a:pt x="2981294" y="0"/>
                </a:lnTo>
                <a:lnTo>
                  <a:pt x="2981294" y="3220408"/>
                </a:lnTo>
                <a:lnTo>
                  <a:pt x="0" y="322040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</p:sp>
      <p:sp>
        <p:nvSpPr>
          <p:cNvPr id="6" name="Freeform 6"/>
          <p:cNvSpPr/>
          <p:nvPr/>
        </p:nvSpPr>
        <p:spPr>
          <a:xfrm>
            <a:off x="4137782" y="2571750"/>
            <a:ext cx="1446507" cy="2493193"/>
          </a:xfrm>
          <a:custGeom>
            <a:avLst/>
            <a:gdLst/>
            <a:ahLst/>
            <a:cxnLst/>
            <a:rect l="l" t="t" r="r" b="b"/>
            <a:pathLst>
              <a:path w="2893014" h="4986386">
                <a:moveTo>
                  <a:pt x="0" y="0"/>
                </a:moveTo>
                <a:lnTo>
                  <a:pt x="2893014" y="0"/>
                </a:lnTo>
                <a:lnTo>
                  <a:pt x="2893014" y="4986386"/>
                </a:lnTo>
                <a:lnTo>
                  <a:pt x="0" y="4986386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</p:sp>
      <p:sp>
        <p:nvSpPr>
          <p:cNvPr id="7" name="Freeform 7"/>
          <p:cNvSpPr/>
          <p:nvPr/>
        </p:nvSpPr>
        <p:spPr>
          <a:xfrm>
            <a:off x="6346748" y="652259"/>
            <a:ext cx="2282903" cy="781081"/>
          </a:xfrm>
          <a:custGeom>
            <a:avLst/>
            <a:gdLst/>
            <a:ahLst/>
            <a:cxnLst/>
            <a:rect l="l" t="t" r="r" b="b"/>
            <a:pathLst>
              <a:path w="4565805" h="1562162">
                <a:moveTo>
                  <a:pt x="0" y="0"/>
                </a:moveTo>
                <a:lnTo>
                  <a:pt x="4565805" y="0"/>
                </a:lnTo>
                <a:lnTo>
                  <a:pt x="4565805" y="1562162"/>
                </a:lnTo>
                <a:lnTo>
                  <a:pt x="0" y="1562162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</p:sp>
      <p:sp>
        <p:nvSpPr>
          <p:cNvPr id="8" name="Freeform 8"/>
          <p:cNvSpPr/>
          <p:nvPr/>
        </p:nvSpPr>
        <p:spPr>
          <a:xfrm>
            <a:off x="6330438" y="1524584"/>
            <a:ext cx="2299212" cy="1047166"/>
          </a:xfrm>
          <a:custGeom>
            <a:avLst/>
            <a:gdLst/>
            <a:ahLst/>
            <a:cxnLst/>
            <a:rect l="l" t="t" r="r" b="b"/>
            <a:pathLst>
              <a:path w="4598424" h="2094332">
                <a:moveTo>
                  <a:pt x="0" y="0"/>
                </a:moveTo>
                <a:lnTo>
                  <a:pt x="4598424" y="0"/>
                </a:lnTo>
                <a:lnTo>
                  <a:pt x="4598424" y="2094332"/>
                </a:lnTo>
                <a:lnTo>
                  <a:pt x="0" y="2094332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</p:sp>
      <p:sp>
        <p:nvSpPr>
          <p:cNvPr id="9" name="Freeform 9"/>
          <p:cNvSpPr/>
          <p:nvPr/>
        </p:nvSpPr>
        <p:spPr>
          <a:xfrm>
            <a:off x="6312054" y="2653973"/>
            <a:ext cx="1505120" cy="676638"/>
          </a:xfrm>
          <a:custGeom>
            <a:avLst/>
            <a:gdLst/>
            <a:ahLst/>
            <a:cxnLst/>
            <a:rect l="l" t="t" r="r" b="b"/>
            <a:pathLst>
              <a:path w="3010240" h="1353276">
                <a:moveTo>
                  <a:pt x="0" y="0"/>
                </a:moveTo>
                <a:lnTo>
                  <a:pt x="3010241" y="0"/>
                </a:lnTo>
                <a:lnTo>
                  <a:pt x="3010241" y="1353276"/>
                </a:lnTo>
                <a:lnTo>
                  <a:pt x="0" y="1353276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</p:sp>
      <p:sp>
        <p:nvSpPr>
          <p:cNvPr id="10" name="Freeform 10"/>
          <p:cNvSpPr/>
          <p:nvPr/>
        </p:nvSpPr>
        <p:spPr>
          <a:xfrm>
            <a:off x="6314129" y="4303172"/>
            <a:ext cx="1503046" cy="651957"/>
          </a:xfrm>
          <a:custGeom>
            <a:avLst/>
            <a:gdLst/>
            <a:ahLst/>
            <a:cxnLst/>
            <a:rect l="l" t="t" r="r" b="b"/>
            <a:pathLst>
              <a:path w="3006092" h="1303913">
                <a:moveTo>
                  <a:pt x="0" y="0"/>
                </a:moveTo>
                <a:lnTo>
                  <a:pt x="3006092" y="0"/>
                </a:lnTo>
                <a:lnTo>
                  <a:pt x="3006092" y="1303912"/>
                </a:lnTo>
                <a:lnTo>
                  <a:pt x="0" y="1303912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</p:sp>
      <p:sp>
        <p:nvSpPr>
          <p:cNvPr id="11" name="Freeform 11"/>
          <p:cNvSpPr/>
          <p:nvPr/>
        </p:nvSpPr>
        <p:spPr>
          <a:xfrm>
            <a:off x="6312054" y="3527327"/>
            <a:ext cx="1505120" cy="636467"/>
          </a:xfrm>
          <a:custGeom>
            <a:avLst/>
            <a:gdLst/>
            <a:ahLst/>
            <a:cxnLst/>
            <a:rect l="l" t="t" r="r" b="b"/>
            <a:pathLst>
              <a:path w="3010240" h="1272933">
                <a:moveTo>
                  <a:pt x="0" y="0"/>
                </a:moveTo>
                <a:lnTo>
                  <a:pt x="3010241" y="0"/>
                </a:lnTo>
                <a:lnTo>
                  <a:pt x="3010241" y="1272932"/>
                </a:lnTo>
                <a:lnTo>
                  <a:pt x="0" y="1272932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</p:spPr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09656A-2C2C-3D33-710D-D5109379B189}"/>
              </a:ext>
            </a:extLst>
          </p:cNvPr>
          <p:cNvSpPr txBox="1"/>
          <p:nvPr/>
        </p:nvSpPr>
        <p:spPr>
          <a:xfrm>
            <a:off x="237600" y="1388285"/>
            <a:ext cx="3617259" cy="2366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da-DK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Pulsed output 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M-Bus 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Modbus &amp; BACnet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Wireless communication, M-Bus, </a:t>
            </a:r>
            <a:r>
              <a:rPr lang="en-US" sz="1100" kern="100" dirty="0" err="1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LoRaWan</a:t>
            </a: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da-DK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FA51F4-D332-138C-3723-AA2AF38F0D3C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DF87083C-65A0-A872-9045-48B0C8E0AEE8}"/>
              </a:ext>
            </a:extLst>
          </p:cNvPr>
          <p:cNvSpPr txBox="1">
            <a:spLocks/>
          </p:cNvSpPr>
          <p:nvPr/>
        </p:nvSpPr>
        <p:spPr>
          <a:xfrm>
            <a:off x="237600" y="540000"/>
            <a:ext cx="3944948" cy="3723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5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600" dirty="0"/>
              <a:t>BMS Communication:</a:t>
            </a:r>
            <a:br>
              <a:rPr lang="da-DK" dirty="0"/>
            </a:br>
            <a:endParaRPr lang="da-DK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E4351725-1299-40BB-A4B5-123367331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56" y="928958"/>
            <a:ext cx="5011270" cy="372314"/>
          </a:xfrm>
        </p:spPr>
        <p:txBody>
          <a:bodyPr/>
          <a:lstStyle/>
          <a:p>
            <a:r>
              <a:rPr lang="de-DE" dirty="0"/>
              <a:t>Thank you for your attention!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295B0F9-B8B9-FA1F-A90A-D133590C46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092" y="3095443"/>
            <a:ext cx="1961818" cy="1410720"/>
          </a:xfrm>
        </p:spPr>
        <p:txBody>
          <a:bodyPr/>
          <a:lstStyle/>
          <a:p>
            <a:endParaRPr lang="da-DK" dirty="0"/>
          </a:p>
          <a:p>
            <a:pPr indent="0">
              <a:buNone/>
            </a:pPr>
            <a:r>
              <a:rPr lang="da-DK" sz="1400" b="1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  <a:t>Connor Garnett </a:t>
            </a:r>
          </a:p>
          <a:p>
            <a:r>
              <a:rPr lang="en-US" sz="1400" b="1" dirty="0"/>
              <a:t>Business Development  Manager</a:t>
            </a:r>
          </a:p>
          <a:p>
            <a:endParaRPr lang="da-DK" b="1" dirty="0">
              <a:latin typeface="Calibri Light" panose="020F0302020204030204" pitchFamily="34" charset="0"/>
              <a:ea typeface="Calibri" panose="020F0502020204030204" pitchFamily="34" charset="0"/>
            </a:endParaRPr>
          </a:p>
          <a:p>
            <a:r>
              <a:rPr lang="da-DK" sz="1400" b="1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  <a:t>UK Metering </a:t>
            </a:r>
            <a:br>
              <a:rPr lang="da-DK" sz="1400" b="1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</a:br>
            <a:br>
              <a:rPr lang="da-DK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</a:br>
            <a:br>
              <a:rPr lang="da-DK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</a:br>
            <a:br>
              <a:rPr lang="da-DK" dirty="0">
                <a:effectLst/>
                <a:latin typeface="Calibri Light" panose="020F0302020204030204" pitchFamily="34" charset="0"/>
                <a:ea typeface="Calibri" panose="020F0502020204030204" pitchFamily="34" charset="0"/>
              </a:rPr>
            </a:br>
            <a:endParaRPr lang="da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252D03-2C6D-409C-E843-8A20DED52B83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130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A21A755-3F18-8344-B7A8-30F97B0874A8}"/>
              </a:ext>
            </a:extLst>
          </p:cNvPr>
          <p:cNvSpPr/>
          <p:nvPr/>
        </p:nvSpPr>
        <p:spPr>
          <a:xfrm>
            <a:off x="0" y="0"/>
            <a:ext cx="9144000" cy="88669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455F0A-43B5-47AE-90B5-F86550F31B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911" y="3208989"/>
            <a:ext cx="7016750" cy="377217"/>
          </a:xfrm>
        </p:spPr>
        <p:txBody>
          <a:bodyPr/>
          <a:lstStyle/>
          <a:p>
            <a:pPr indent="0">
              <a:buNone/>
            </a:pPr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F2C295-C9A5-AFAC-3A32-D99F83FEDA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0148" y="268394"/>
            <a:ext cx="1335140" cy="30482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90579F0-9FAA-09B2-B3C4-CD066C5D5D75}"/>
              </a:ext>
            </a:extLst>
          </p:cNvPr>
          <p:cNvSpPr/>
          <p:nvPr/>
        </p:nvSpPr>
        <p:spPr>
          <a:xfrm>
            <a:off x="7511845" y="157316"/>
            <a:ext cx="1632155" cy="7293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9DD637-4B18-8AE5-F2ED-9466275BC6E4}"/>
              </a:ext>
            </a:extLst>
          </p:cNvPr>
          <p:cNvSpPr txBox="1"/>
          <p:nvPr/>
        </p:nvSpPr>
        <p:spPr>
          <a:xfrm>
            <a:off x="279911" y="712365"/>
            <a:ext cx="4580876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da-DK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genda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82A886-DE1D-5ACD-AA0E-26F74FD16BC0}"/>
              </a:ext>
            </a:extLst>
          </p:cNvPr>
          <p:cNvSpPr txBox="1"/>
          <p:nvPr/>
        </p:nvSpPr>
        <p:spPr>
          <a:xfrm>
            <a:off x="279911" y="1902377"/>
            <a:ext cx="48205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eat Networ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Regu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Thermal Energy Meters</a:t>
            </a:r>
          </a:p>
          <a:p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817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0D8A61-A2F1-9B1A-B981-F46F2C90E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ackground:</a:t>
            </a:r>
            <a:br>
              <a:rPr lang="da-DK" dirty="0"/>
            </a:b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C6F473A-0545-310C-B13A-45BCA32917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E1EBAA-3E2F-7345-CDB9-64CC757BF222}"/>
              </a:ext>
            </a:extLst>
          </p:cNvPr>
          <p:cNvSpPr txBox="1"/>
          <p:nvPr/>
        </p:nvSpPr>
        <p:spPr>
          <a:xfrm>
            <a:off x="237600" y="1261715"/>
            <a:ext cx="3617259" cy="3453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Heat Networks use less energy and provide less carbon emissions 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17,000 registered heat networks in the UK.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Heat Networks currently provide 2-3% of the UK’s Heat</a:t>
            </a:r>
            <a:endParaRPr lang="da-DK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Department for Energy Security and Net Zero (DESNZ)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en-US" sz="1100" kern="100" dirty="0">
                <a:solidFill>
                  <a:schemeClr val="accent1"/>
                </a:solidFill>
                <a:latin typeface="+mj-lt"/>
                <a:ea typeface="DengXian Light" panose="02010600030101010101" pitchFamily="2" charset="-122"/>
                <a:cs typeface="Times New Roman" panose="02020603050405020304" pitchFamily="18" charset="0"/>
              </a:rPr>
              <a:t>Case study – Leeds heat network; Leeds university, Leeds museum, Leeds town hall, court and library</a:t>
            </a: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da-DK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  <a:p>
            <a:pPr marL="228600" lvl="0" indent="-228600">
              <a:lnSpc>
                <a:spcPct val="115000"/>
              </a:lnSpc>
              <a:spcBef>
                <a:spcPts val="800"/>
              </a:spcBef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endParaRPr lang="en-US" sz="1100" kern="100" dirty="0">
              <a:solidFill>
                <a:schemeClr val="accent1"/>
              </a:solidFill>
              <a:latin typeface="+mj-lt"/>
              <a:ea typeface="DengXian Light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FBD6323-AF30-5EE8-AFBE-5598B1B2C6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0148" y="268394"/>
            <a:ext cx="1335140" cy="304826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5CCB9F55-1208-3D41-0F06-90F006FB30E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l="20761" r="20761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729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BA92A24-97BF-4E74-90FE-8846ACDA6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3544" y="1312069"/>
            <a:ext cx="5382816" cy="3201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marR="0" lvl="2" indent="-214313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>
                <a:tab pos="998935" algn="l"/>
              </a:tabLst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Calibri Light" pitchFamily="34" charset="0"/>
              <a:ea typeface="+mn-ea"/>
              <a:cs typeface="+mn-cs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6D1D3269-4779-4898-926A-B5E62E18B3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6052" y="367206"/>
            <a:ext cx="5080280" cy="529696"/>
          </a:xfrm>
        </p:spPr>
        <p:txBody>
          <a:bodyPr/>
          <a:lstStyle/>
          <a:p>
            <a:pPr>
              <a:defRPr/>
            </a:pPr>
            <a:r>
              <a:rPr lang="en-US" noProof="0" dirty="0"/>
              <a:t>Heat Network (Metering and Billing) Regulations 2014:</a:t>
            </a:r>
            <a:br>
              <a:rPr lang="en-US" noProof="0" dirty="0"/>
            </a:br>
            <a:br>
              <a:rPr lang="en-US" noProof="0" dirty="0"/>
            </a:br>
            <a:endParaRPr lang="en-US" sz="1350" i="1" noProof="0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4E3F134-7E28-0517-3CF3-763EFB95BF29}"/>
              </a:ext>
            </a:extLst>
          </p:cNvPr>
          <p:cNvSpPr txBox="1">
            <a:spLocks/>
          </p:cNvSpPr>
          <p:nvPr/>
        </p:nvSpPr>
        <p:spPr>
          <a:xfrm>
            <a:off x="5030409" y="1029062"/>
            <a:ext cx="3959225" cy="34845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9388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dirty="0">
              <a:solidFill>
                <a:srgbClr val="000000"/>
              </a:solidFill>
              <a:latin typeface="Calibri Light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000000"/>
                </a:solidFill>
                <a:latin typeface="Calibri Light"/>
              </a:rPr>
              <a:t>What are the regulations?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</a:t>
            </a:r>
            <a:r>
              <a:rPr lang="de-DE" dirty="0">
                <a:solidFill>
                  <a:srgbClr val="000000"/>
                </a:solidFill>
                <a:latin typeface="Calibri Light"/>
              </a:rPr>
              <a:t>ho does this apply to?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en-US" u="sng" dirty="0">
              <a:solidFill>
                <a:srgbClr val="000000"/>
              </a:solidFill>
              <a:latin typeface="Calibri Light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u="sng" dirty="0">
                <a:solidFill>
                  <a:srgbClr val="000000"/>
                </a:solidFill>
                <a:latin typeface="Calibri Light"/>
              </a:rPr>
              <a:t>Three stipulations: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 Light"/>
              </a:rPr>
              <a:t>Notification – Network, capacity, buildings and custom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 Light"/>
              </a:rPr>
              <a:t>Metering – Point of entry, Final Customer met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illing  - Actual Figures, Once a year.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A27E3D-9C06-25C2-751D-A4E517A0AB13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37C51B-397F-D248-3E51-039DF0517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353" y="2200905"/>
            <a:ext cx="4457149" cy="9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145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BF2BE1C-C304-437A-BC8C-16D5D45D49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085" y="336095"/>
            <a:ext cx="6775200" cy="735189"/>
          </a:xfrm>
        </p:spPr>
        <p:txBody>
          <a:bodyPr/>
          <a:lstStyle/>
          <a:p>
            <a:r>
              <a:rPr lang="da-DK" sz="2600" dirty="0">
                <a:solidFill>
                  <a:schemeClr val="accent1"/>
                </a:solidFill>
              </a:rPr>
              <a:t>Thermal energy meters</a:t>
            </a:r>
            <a:endParaRPr lang="en-US" sz="1350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FF4BB99-1D58-B80D-887C-B12CE9E1F6AE}"/>
              </a:ext>
            </a:extLst>
          </p:cNvPr>
          <p:cNvSpPr/>
          <p:nvPr/>
        </p:nvSpPr>
        <p:spPr>
          <a:xfrm>
            <a:off x="1233530" y="1177846"/>
            <a:ext cx="1888143" cy="898777"/>
          </a:xfrm>
          <a:prstGeom prst="roundRect">
            <a:avLst>
              <a:gd name="adj" fmla="val 7815"/>
            </a:avLst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plet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E590896-67D0-4EDA-88C8-BA2F1A3C1005}"/>
              </a:ext>
            </a:extLst>
          </p:cNvPr>
          <p:cNvSpPr/>
          <p:nvPr/>
        </p:nvSpPr>
        <p:spPr>
          <a:xfrm>
            <a:off x="1233530" y="2127866"/>
            <a:ext cx="1888143" cy="898777"/>
          </a:xfrm>
          <a:prstGeom prst="roundRect">
            <a:avLst>
              <a:gd name="adj" fmla="val 7815"/>
            </a:avLst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pac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D33FACA-2890-4B83-B5E9-5C09F22B5709}"/>
              </a:ext>
            </a:extLst>
          </p:cNvPr>
          <p:cNvSpPr/>
          <p:nvPr/>
        </p:nvSpPr>
        <p:spPr>
          <a:xfrm>
            <a:off x="1528750" y="1270612"/>
            <a:ext cx="1426297" cy="734601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numCol="1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CAL® 303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79BE495-7823-4E2A-BFE1-2F3F76CD9868}"/>
              </a:ext>
            </a:extLst>
          </p:cNvPr>
          <p:cNvSpPr/>
          <p:nvPr/>
        </p:nvSpPr>
        <p:spPr>
          <a:xfrm>
            <a:off x="1528750" y="2208682"/>
            <a:ext cx="1426297" cy="734601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CAL® 403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FE2FF93-FDD1-4AFD-A770-1B98450C33BD}"/>
              </a:ext>
            </a:extLst>
          </p:cNvPr>
          <p:cNvSpPr/>
          <p:nvPr/>
        </p:nvSpPr>
        <p:spPr>
          <a:xfrm>
            <a:off x="6493401" y="3067298"/>
            <a:ext cx="1592402" cy="1699081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LTRAFLOW® 44/5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FEB0E6-B102-419E-8AA9-CF9BED7F85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324" y="1380148"/>
            <a:ext cx="1044208" cy="552125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ADC9E67-48C1-48FF-AB7D-39CB1BE477CF}"/>
              </a:ext>
            </a:extLst>
          </p:cNvPr>
          <p:cNvSpPr/>
          <p:nvPr/>
        </p:nvSpPr>
        <p:spPr>
          <a:xfrm>
            <a:off x="1233530" y="3067298"/>
            <a:ext cx="1888143" cy="1706714"/>
          </a:xfrm>
          <a:prstGeom prst="roundRect">
            <a:avLst>
              <a:gd name="adj" fmla="val 7815"/>
            </a:avLst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bined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565EB28-8E09-41F8-AACF-B6D32966ABDF}"/>
              </a:ext>
            </a:extLst>
          </p:cNvPr>
          <p:cNvSpPr/>
          <p:nvPr/>
        </p:nvSpPr>
        <p:spPr>
          <a:xfrm>
            <a:off x="1528750" y="3148512"/>
            <a:ext cx="1426297" cy="734601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numCol="1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CAL® </a:t>
            </a:r>
            <a:r>
              <a:rPr kumimoji="0" lang="ru-RU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603</a:t>
            </a:r>
            <a:endParaRPr kumimoji="0" lang="da-DK" sz="788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6F6C8F9-A829-47FC-B871-9E351737FA51}"/>
              </a:ext>
            </a:extLst>
          </p:cNvPr>
          <p:cNvSpPr/>
          <p:nvPr/>
        </p:nvSpPr>
        <p:spPr>
          <a:xfrm>
            <a:off x="1528750" y="3956052"/>
            <a:ext cx="1426297" cy="734601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ULTICAL® </a:t>
            </a:r>
            <a:r>
              <a:rPr kumimoji="0" lang="ru-RU" sz="788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803</a:t>
            </a:r>
            <a:endParaRPr kumimoji="0" lang="da-DK" sz="788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BD0BDE3-0F23-416B-9DB4-08F771403C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8388" y="2298408"/>
            <a:ext cx="910082" cy="5551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13A86C4-0EDC-4E7C-BBBE-EE6BEBADE1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7244" y="3240671"/>
            <a:ext cx="932370" cy="5687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B13E70-0D34-4A32-ADF4-40EF0ECE40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93445" y="3982524"/>
            <a:ext cx="619970" cy="70056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F959632-40E5-A6AF-1EBE-34764AEA227B}"/>
              </a:ext>
            </a:extLst>
          </p:cNvPr>
          <p:cNvGrpSpPr/>
          <p:nvPr/>
        </p:nvGrpSpPr>
        <p:grpSpPr>
          <a:xfrm>
            <a:off x="4847241" y="2188072"/>
            <a:ext cx="1592402" cy="2578308"/>
            <a:chOff x="4703937" y="2188072"/>
            <a:chExt cx="1592402" cy="2578308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2389666B-6D2D-4C1D-B171-D7C9ABE5EA6A}"/>
                </a:ext>
              </a:extLst>
            </p:cNvPr>
            <p:cNvSpPr/>
            <p:nvPr/>
          </p:nvSpPr>
          <p:spPr>
            <a:xfrm>
              <a:off x="4703937" y="2188072"/>
              <a:ext cx="1592402" cy="2578308"/>
            </a:xfrm>
            <a:prstGeom prst="roundRect">
              <a:avLst/>
            </a:prstGeom>
            <a:solidFill>
              <a:srgbClr val="009CA6"/>
            </a:solidFill>
            <a:ln>
              <a:solidFill>
                <a:srgbClr val="009CA6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rtlCol="0" anchor="t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3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emperature </a:t>
              </a:r>
              <a:br>
                <a:rPr kumimoji="0" lang="ru-RU" sz="13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</a:br>
              <a:r>
                <a:rPr kumimoji="0" lang="da-DK" sz="135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sensor sets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2C77D39-B147-415E-83EE-731DE60C0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10878" y="3616150"/>
              <a:ext cx="557481" cy="1052244"/>
            </a:xfrm>
            <a:prstGeom prst="rect">
              <a:avLst/>
            </a:prstGeom>
          </p:spPr>
        </p:pic>
        <p:pic>
          <p:nvPicPr>
            <p:cNvPr id="13" name="Picture 12" descr="A picture containing indoor&#10;&#10;Description automatically generated">
              <a:extLst>
                <a:ext uri="{FF2B5EF4-FFF2-40B4-BE49-F238E27FC236}">
                  <a16:creationId xmlns:a16="http://schemas.microsoft.com/office/drawing/2014/main" id="{24315FFD-8935-48B5-BB00-470CE6F464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7282" y="2787359"/>
              <a:ext cx="1018336" cy="293282"/>
            </a:xfrm>
            <a:prstGeom prst="rect">
              <a:avLst/>
            </a:prstGeom>
          </p:spPr>
        </p:pic>
        <p:pic>
          <p:nvPicPr>
            <p:cNvPr id="19" name="Picture 18" descr="A picture containing indoor, close&#10;&#10;Description automatically generated">
              <a:extLst>
                <a:ext uri="{FF2B5EF4-FFF2-40B4-BE49-F238E27FC236}">
                  <a16:creationId xmlns:a16="http://schemas.microsoft.com/office/drawing/2014/main" id="{29A9052E-6427-471C-A4DF-3A2A13D01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87485" y="3214622"/>
              <a:ext cx="1017380" cy="194320"/>
            </a:xfrm>
            <a:prstGeom prst="rect">
              <a:avLst/>
            </a:prstGeom>
          </p:spPr>
        </p:pic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F126C3F-3D26-2817-CF73-C52606F602B9}"/>
              </a:ext>
            </a:extLst>
          </p:cNvPr>
          <p:cNvSpPr/>
          <p:nvPr/>
        </p:nvSpPr>
        <p:spPr>
          <a:xfrm>
            <a:off x="3185964" y="2188072"/>
            <a:ext cx="1592402" cy="2578308"/>
          </a:xfrm>
          <a:prstGeom prst="roundRect">
            <a:avLst/>
          </a:prstGeom>
          <a:solidFill>
            <a:srgbClr val="009CA6"/>
          </a:solidFill>
          <a:ln>
            <a:solidFill>
              <a:srgbClr val="009CA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m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odules</a:t>
            </a:r>
            <a:endParaRPr kumimoji="0" lang="da-DK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6AC8A25A-9C09-366A-9639-2AC52B0966B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0907" y="2891180"/>
            <a:ext cx="653056" cy="257332"/>
          </a:xfrm>
          <a:prstGeom prst="rect">
            <a:avLst/>
          </a:prstGeom>
          <a:ln>
            <a:noFill/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9199B1C-7757-8577-2E2A-62297804B20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0420" y="3202293"/>
            <a:ext cx="589770" cy="231678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882E108-BE11-F265-D423-6E2EFA2E197D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1917" y="3483699"/>
            <a:ext cx="589768" cy="239728"/>
          </a:xfrm>
          <a:prstGeom prst="rect">
            <a:avLst/>
          </a:prstGeom>
          <a:noFill/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6260DA6-DDC2-EF28-5530-1EB82C23C5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692" y="3766738"/>
            <a:ext cx="589772" cy="40211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AD35D73-D3BA-B265-4B9B-9793F708F40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 bwMode="auto">
          <a:xfrm>
            <a:off x="3519742" y="3941570"/>
            <a:ext cx="589768" cy="442326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C44C2A8B-3326-D528-F921-A0B813162E16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 bwMode="auto">
          <a:xfrm>
            <a:off x="3952697" y="4246452"/>
            <a:ext cx="589767" cy="442325"/>
          </a:xfrm>
          <a:prstGeom prst="rect">
            <a:avLst/>
          </a:prstGeom>
          <a:noFill/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429718DE-6142-6281-2EC4-8B6C5969C24F}"/>
              </a:ext>
            </a:extLst>
          </p:cNvPr>
          <p:cNvGrpSpPr/>
          <p:nvPr/>
        </p:nvGrpSpPr>
        <p:grpSpPr>
          <a:xfrm>
            <a:off x="6570669" y="3531355"/>
            <a:ext cx="1437865" cy="1197315"/>
            <a:chOff x="6486845" y="2960479"/>
            <a:chExt cx="2045046" cy="170291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3CB32C4-1A03-840B-C86B-829B787C68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1497" y="2960479"/>
              <a:ext cx="1440000" cy="1038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486A6A8-FA5B-0178-CB8F-AE6937F5AE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848"/>
            <a:stretch/>
          </p:blipFill>
          <p:spPr>
            <a:xfrm>
              <a:off x="6486845" y="3714612"/>
              <a:ext cx="1260000" cy="948783"/>
            </a:xfrm>
            <a:prstGeom prst="rect">
              <a:avLst/>
            </a:prstGeom>
          </p:spPr>
        </p:pic>
        <p:pic>
          <p:nvPicPr>
            <p:cNvPr id="25" name="Picture 24" descr="A picture containing light, meter&#10;&#10;Description automatically generated">
              <a:extLst>
                <a:ext uri="{FF2B5EF4-FFF2-40B4-BE49-F238E27FC236}">
                  <a16:creationId xmlns:a16="http://schemas.microsoft.com/office/drawing/2014/main" id="{FF1844B8-3769-0BA4-3278-36E70E564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739196" y="4085005"/>
              <a:ext cx="792695" cy="4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071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BA92A24-97BF-4E74-90FE-8846ACDA6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3544" y="1312069"/>
            <a:ext cx="5382816" cy="3201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lvl="2" indent="-214313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  <a:tabLst>
                <a:tab pos="998935" algn="l"/>
              </a:tabLst>
            </a:pPr>
            <a:endParaRPr lang="en-GB" sz="1200">
              <a:solidFill>
                <a:srgbClr val="717171"/>
              </a:solidFill>
              <a:latin typeface="Calibri Light" pitchFamily="34" charset="0"/>
            </a:endParaRP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5B9C9E01-512A-4F3A-A6FD-82811F223B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9022" y="878682"/>
            <a:ext cx="5695950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GB" sz="1500" kern="0" dirty="0">
                <a:latin typeface="Calibri Light" pitchFamily="34" charset="0"/>
              </a:rPr>
              <a:t>An energy meter (heat or cooling) consists of 3 main parts:</a:t>
            </a:r>
            <a:endParaRPr lang="en-GB" sz="1500" dirty="0">
              <a:latin typeface="Calibri Light" pitchFamily="34" charset="0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B10BBB5C-260B-4A72-B7A4-4B67755577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3765" y="1313260"/>
            <a:ext cx="3882567" cy="2449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350" dirty="0">
                <a:latin typeface="Calibri Light" pitchFamily="34" charset="0"/>
                <a:ea typeface="Calibri Light" pitchFamily="34" charset="0"/>
              </a:rPr>
              <a:t>Flow sensor  (based on Ultrasound-Technology)</a:t>
            </a: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  <a:endParaRPr lang="en-US" sz="1350" dirty="0">
              <a:solidFill>
                <a:schemeClr val="accent3"/>
              </a:solidFill>
              <a:latin typeface="Calibri Light" pitchFamily="34" charset="0"/>
              <a:ea typeface="Calibri Light" pitchFamily="34" charset="0"/>
            </a:endParaRP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350" dirty="0">
              <a:latin typeface="Calibri Light" pitchFamily="34" charset="0"/>
              <a:ea typeface="Calibri Light" pitchFamily="34" charset="0"/>
            </a:endParaRPr>
          </a:p>
          <a:p>
            <a:pPr marL="257175" indent="-257175">
              <a:buFont typeface="Arial" pitchFamily="34" charset="0"/>
              <a:buChar char="•"/>
            </a:pPr>
            <a:r>
              <a:rPr lang="en-US" sz="1350" dirty="0">
                <a:latin typeface="Calibri Light" pitchFamily="34" charset="0"/>
                <a:ea typeface="Calibri Light" pitchFamily="34" charset="0"/>
              </a:rPr>
              <a:t>Temperature sensor pair (Platinum resistors)</a:t>
            </a:r>
            <a:r>
              <a:rPr lang="en-US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</a:p>
          <a:p>
            <a:pPr marL="257175" indent="-257175"/>
            <a:r>
              <a:rPr lang="en-US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  <a:endParaRPr lang="en-US" sz="1350" dirty="0">
              <a:solidFill>
                <a:srgbClr val="33B0B8"/>
              </a:solidFill>
              <a:latin typeface="Calibri Light" pitchFamily="34" charset="0"/>
              <a:ea typeface="Calibri Light" pitchFamily="34" charset="0"/>
            </a:endParaRPr>
          </a:p>
          <a:p>
            <a:pPr marL="257175" indent="-257175">
              <a:buFont typeface="Arial" pitchFamily="34" charset="0"/>
              <a:buChar char="•"/>
            </a:pPr>
            <a:endParaRPr lang="en-US" sz="1350" dirty="0">
              <a:latin typeface="Calibri Light" pitchFamily="34" charset="0"/>
              <a:ea typeface="Calibri Light" pitchFamily="34" charset="0"/>
            </a:endParaRPr>
          </a:p>
          <a:p>
            <a:pPr marL="257175" indent="-257175">
              <a:buFont typeface="Arial" pitchFamily="34" charset="0"/>
              <a:buChar char="•"/>
            </a:pPr>
            <a:r>
              <a:rPr lang="en-US" sz="1350" dirty="0">
                <a:latin typeface="Calibri Light" pitchFamily="34" charset="0"/>
                <a:ea typeface="Calibri Light" pitchFamily="34" charset="0"/>
              </a:rPr>
              <a:t>Calculator							</a:t>
            </a:r>
          </a:p>
          <a:p>
            <a:pPr marL="257175" indent="-257175"/>
            <a:r>
              <a:rPr lang="en-US" sz="1350" dirty="0">
                <a:solidFill>
                  <a:srgbClr val="00B050"/>
                </a:solidFill>
                <a:latin typeface="Calibri Light" pitchFamily="34" charset="0"/>
              </a:rPr>
              <a:t>	</a:t>
            </a:r>
            <a:endParaRPr lang="da-DK" sz="1350" dirty="0">
              <a:solidFill>
                <a:srgbClr val="00B050"/>
              </a:solidFill>
              <a:latin typeface="Calibri Light" pitchFamily="34" charset="0"/>
              <a:cs typeface="Times New Roman"/>
            </a:endParaRPr>
          </a:p>
          <a:p>
            <a:pPr marL="214313" indent="-214313">
              <a:spcBef>
                <a:spcPct val="20000"/>
              </a:spcBef>
              <a:spcAft>
                <a:spcPct val="50000"/>
              </a:spcAft>
              <a:buFont typeface="Arial" pitchFamily="34" charset="0"/>
              <a:buChar char="•"/>
            </a:pPr>
            <a:endParaRPr lang="en-US" sz="1350" dirty="0">
              <a:latin typeface="Calibri Light" pitchFamily="34" charset="0"/>
            </a:endParaRPr>
          </a:p>
          <a:p>
            <a:pPr marL="214313" indent="-214313">
              <a:spcBef>
                <a:spcPct val="20000"/>
              </a:spcBef>
              <a:spcAft>
                <a:spcPct val="50000"/>
              </a:spcAft>
            </a:pPr>
            <a:r>
              <a:rPr lang="en-US" sz="1200" i="1" dirty="0">
                <a:latin typeface="Calibri Light" pitchFamily="34" charset="0"/>
              </a:rPr>
              <a:t>	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6D1D3269-4779-4898-926A-B5E62E18B3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6052" y="367206"/>
            <a:ext cx="5080280" cy="529696"/>
          </a:xfrm>
        </p:spPr>
        <p:txBody>
          <a:bodyPr/>
          <a:lstStyle/>
          <a:p>
            <a:pPr>
              <a:defRPr/>
            </a:pPr>
            <a:r>
              <a:rPr lang="en-US" sz="1650" noProof="0" dirty="0"/>
              <a:t>Thermal energy meter</a:t>
            </a:r>
            <a:br>
              <a:rPr lang="en-US" noProof="0" dirty="0"/>
            </a:br>
            <a:r>
              <a:rPr lang="en-US" sz="1350" i="1" dirty="0"/>
              <a:t>- How does it work?</a:t>
            </a:r>
            <a:endParaRPr lang="en-US" sz="1350" i="1" noProof="0" dirty="0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23A19D06-A44F-4CC2-BB3B-D5010A5C9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0074" y="1302397"/>
            <a:ext cx="4167952" cy="2449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57175" indent="-257175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50" dirty="0">
              <a:solidFill>
                <a:srgbClr val="00B050"/>
              </a:solidFill>
              <a:latin typeface="Calibri Light" pitchFamily="34" charset="0"/>
              <a:ea typeface="Calibri Light" pitchFamily="34" charset="0"/>
            </a:endParaRP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  <a:r>
              <a:rPr lang="en-GB" sz="1350" b="1" dirty="0">
                <a:solidFill>
                  <a:srgbClr val="33B0B8"/>
                </a:solidFill>
                <a:latin typeface="Calibri Light" pitchFamily="34" charset="0"/>
                <a:ea typeface="Calibri Light" pitchFamily="34" charset="0"/>
              </a:rPr>
              <a:t>V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  <a:ea typeface="Calibri Light" pitchFamily="34" charset="0"/>
              </a:rPr>
              <a:t> 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</a:rPr>
              <a:t>= volume of heat conveying fluid (at temperature </a:t>
            </a:r>
            <a:r>
              <a:rPr lang="el-GR" sz="1350" dirty="0">
                <a:solidFill>
                  <a:srgbClr val="33B0B8"/>
                </a:solidFill>
                <a:latin typeface="Calibri Light" pitchFamily="34" charset="0"/>
              </a:rPr>
              <a:t>θ</a:t>
            </a:r>
            <a:r>
              <a:rPr lang="da-DK" sz="1350" baseline="-25000" dirty="0">
                <a:solidFill>
                  <a:srgbClr val="33B0B8"/>
                </a:solidFill>
                <a:latin typeface="Calibri Light" pitchFamily="34" charset="0"/>
              </a:rPr>
              <a:t>q</a:t>
            </a:r>
            <a:r>
              <a:rPr lang="da-DK" sz="1350" dirty="0">
                <a:solidFill>
                  <a:srgbClr val="33B0B8"/>
                </a:solidFill>
                <a:latin typeface="Calibri Light" pitchFamily="34" charset="0"/>
              </a:rPr>
              <a:t>)</a:t>
            </a:r>
            <a:endParaRPr lang="en-GB" sz="1350" dirty="0">
              <a:solidFill>
                <a:srgbClr val="33B0B8"/>
              </a:solidFill>
              <a:latin typeface="Calibri Light" pitchFamily="34" charset="0"/>
              <a:ea typeface="Calibri Light" pitchFamily="34" charset="0"/>
            </a:endParaRPr>
          </a:p>
          <a:p>
            <a:pPr marL="257175" indent="-257175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GB" sz="1350" dirty="0">
              <a:latin typeface="Calibri Light" pitchFamily="34" charset="0"/>
              <a:ea typeface="Calibri Light" pitchFamily="34" charset="0"/>
            </a:endParaRPr>
          </a:p>
          <a:p>
            <a:pPr marL="257175" indent="-257175"/>
            <a:r>
              <a:rPr lang="en-GB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</a:p>
          <a:p>
            <a:pPr marL="257175" indent="-257175"/>
            <a:r>
              <a:rPr lang="en-GB" sz="1350" dirty="0">
                <a:solidFill>
                  <a:srgbClr val="00B050"/>
                </a:solidFill>
                <a:latin typeface="Calibri Light" pitchFamily="34" charset="0"/>
                <a:ea typeface="Calibri Light" pitchFamily="34" charset="0"/>
              </a:rPr>
              <a:t>	</a:t>
            </a:r>
            <a:r>
              <a:rPr lang="en-GB" sz="1350" b="1" dirty="0">
                <a:solidFill>
                  <a:srgbClr val="33B0B8"/>
                </a:solidFill>
                <a:latin typeface="Calibri Light" pitchFamily="34" charset="0"/>
                <a:ea typeface="Calibri Light" pitchFamily="34" charset="0"/>
              </a:rPr>
              <a:t>Δ</a:t>
            </a:r>
            <a:r>
              <a:rPr lang="el-GR" sz="1400" dirty="0">
                <a:solidFill>
                  <a:srgbClr val="33B0B8"/>
                </a:solidFill>
                <a:latin typeface="Times New Roman"/>
                <a:cs typeface="Times New Roman"/>
              </a:rPr>
              <a:t>Θ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  <a:ea typeface="Calibri Light" pitchFamily="34" charset="0"/>
                <a:cs typeface="Times New Roman"/>
              </a:rPr>
              <a:t> = 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</a:rPr>
              <a:t>change of temperature due to heat exchange</a:t>
            </a:r>
            <a:endParaRPr lang="en-GB" sz="1350" dirty="0">
              <a:solidFill>
                <a:srgbClr val="33B0B8"/>
              </a:solidFill>
              <a:latin typeface="Calibri Light" pitchFamily="34" charset="0"/>
              <a:ea typeface="Calibri Light" pitchFamily="34" charset="0"/>
            </a:endParaRPr>
          </a:p>
          <a:p>
            <a:pPr marL="257175" indent="-257175">
              <a:buFont typeface="Arial" pitchFamily="34" charset="0"/>
              <a:buChar char="•"/>
            </a:pPr>
            <a:endParaRPr lang="en-GB" sz="1350" dirty="0">
              <a:latin typeface="Calibri Light" pitchFamily="34" charset="0"/>
              <a:ea typeface="Calibri Light" pitchFamily="34" charset="0"/>
            </a:endParaRPr>
          </a:p>
          <a:p>
            <a:pPr marL="257175" indent="-257175"/>
            <a:r>
              <a:rPr lang="en-GB" sz="1350" dirty="0">
                <a:latin typeface="Calibri Light" pitchFamily="34" charset="0"/>
                <a:ea typeface="Calibri Light" pitchFamily="34" charset="0"/>
              </a:rPr>
              <a:t>						</a:t>
            </a:r>
          </a:p>
          <a:p>
            <a:pPr marL="257175" indent="-257175"/>
            <a:r>
              <a:rPr lang="en-GB" sz="1350" dirty="0">
                <a:solidFill>
                  <a:srgbClr val="00B050"/>
                </a:solidFill>
                <a:latin typeface="Calibri Light" pitchFamily="34" charset="0"/>
              </a:rPr>
              <a:t>	</a:t>
            </a:r>
            <a:r>
              <a:rPr lang="en-GB" sz="1350" b="1" dirty="0">
                <a:solidFill>
                  <a:srgbClr val="33B0B8"/>
                </a:solidFill>
                <a:latin typeface="Calibri Light" pitchFamily="34" charset="0"/>
              </a:rPr>
              <a:t>E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</a:rPr>
              <a:t> = thermal energy </a:t>
            </a:r>
          </a:p>
          <a:p>
            <a:pPr marL="257175" indent="-257175"/>
            <a:endParaRPr lang="en-GB" sz="1350" dirty="0">
              <a:latin typeface="Calibri Light" pitchFamily="34" charset="0"/>
            </a:endParaRPr>
          </a:p>
          <a:p>
            <a:pPr marL="257175" indent="-257175"/>
            <a:r>
              <a:rPr lang="en-GB" sz="1350" b="1" dirty="0">
                <a:solidFill>
                  <a:schemeClr val="accent3"/>
                </a:solidFill>
                <a:latin typeface="Calibri Light" pitchFamily="34" charset="0"/>
              </a:rPr>
              <a:t>	</a:t>
            </a:r>
            <a:r>
              <a:rPr lang="en-GB" sz="1350" b="1" dirty="0">
                <a:solidFill>
                  <a:srgbClr val="33B0B8"/>
                </a:solidFill>
                <a:latin typeface="Calibri Light" pitchFamily="34" charset="0"/>
              </a:rPr>
              <a:t>k</a:t>
            </a:r>
            <a:r>
              <a:rPr lang="en-GB" sz="1350" dirty="0">
                <a:solidFill>
                  <a:srgbClr val="33B0B8"/>
                </a:solidFill>
                <a:latin typeface="Calibri Light" pitchFamily="34" charset="0"/>
              </a:rPr>
              <a:t> = heat coefficient</a:t>
            </a:r>
          </a:p>
          <a:p>
            <a:pPr marL="257175" indent="-257175"/>
            <a:endParaRPr lang="en-GB" sz="1350" dirty="0">
              <a:latin typeface="Calibri Light" pitchFamily="34" charset="0"/>
            </a:endParaRPr>
          </a:p>
          <a:p>
            <a:pPr marL="257175" indent="-257175"/>
            <a:endParaRPr lang="en-US" sz="1350" dirty="0">
              <a:latin typeface="Calibri Light" pitchFamily="34" charset="0"/>
            </a:endParaRPr>
          </a:p>
          <a:p>
            <a:pPr marL="257175" indent="-257175"/>
            <a:endParaRPr lang="en-US" sz="1350" dirty="0">
              <a:latin typeface="Calibri Light" pitchFamily="34" charset="0"/>
            </a:endParaRP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16001F9A-8AD2-47A0-ABAA-469EA5964F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9290" y="1496100"/>
            <a:ext cx="1614140" cy="369332"/>
          </a:xfrm>
          <a:prstGeom prst="rect">
            <a:avLst/>
          </a:prstGeom>
          <a:noFill/>
          <a:ln w="25400">
            <a:solidFill>
              <a:srgbClr val="33B0B8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B0B8"/>
                </a:solidFill>
                <a:latin typeface="Calibri Light" pitchFamily="34" charset="0"/>
              </a:rPr>
              <a:t>E = V </a:t>
            </a:r>
            <a:r>
              <a:rPr lang="en-US" b="1" dirty="0">
                <a:solidFill>
                  <a:srgbClr val="33B0B8"/>
                </a:solidFill>
                <a:latin typeface="Times New Roman"/>
                <a:cs typeface="Times New Roman"/>
              </a:rPr>
              <a:t>· </a:t>
            </a:r>
            <a:r>
              <a:rPr lang="en-US" b="1" dirty="0">
                <a:solidFill>
                  <a:srgbClr val="33B0B8"/>
                </a:solidFill>
                <a:latin typeface="Calibri Light" pitchFamily="34" charset="0"/>
              </a:rPr>
              <a:t>Δ</a:t>
            </a:r>
            <a:r>
              <a:rPr lang="el-GR" dirty="0">
                <a:solidFill>
                  <a:srgbClr val="33B0B8"/>
                </a:solidFill>
                <a:latin typeface="Times New Roman"/>
                <a:cs typeface="Times New Roman"/>
              </a:rPr>
              <a:t>Θ</a:t>
            </a:r>
            <a:r>
              <a:rPr lang="da-DK" dirty="0">
                <a:solidFill>
                  <a:srgbClr val="33B0B8"/>
                </a:solidFill>
                <a:latin typeface="Times New Roman"/>
                <a:cs typeface="Times New Roman"/>
              </a:rPr>
              <a:t> </a:t>
            </a:r>
            <a:r>
              <a:rPr lang="en-US" b="1" dirty="0">
                <a:solidFill>
                  <a:srgbClr val="33B0B8"/>
                </a:solidFill>
                <a:latin typeface="Times New Roman"/>
                <a:cs typeface="Times New Roman"/>
              </a:rPr>
              <a:t>· </a:t>
            </a:r>
            <a:r>
              <a:rPr lang="en-US" b="1" dirty="0">
                <a:solidFill>
                  <a:srgbClr val="33B0B8"/>
                </a:solidFill>
                <a:latin typeface="Calibri Light" pitchFamily="34" charset="0"/>
              </a:rPr>
              <a:t>k</a:t>
            </a:r>
          </a:p>
        </p:txBody>
      </p:sp>
      <p:pic>
        <p:nvPicPr>
          <p:cNvPr id="11" name="Picture 10" descr="A picture containing indoor&#10;&#10;Description automatically generated">
            <a:extLst>
              <a:ext uri="{FF2B5EF4-FFF2-40B4-BE49-F238E27FC236}">
                <a16:creationId xmlns:a16="http://schemas.microsoft.com/office/drawing/2014/main" id="{B38604A3-B1CA-404C-AC21-5AFD35F63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4878502">
            <a:off x="7443053" y="4082923"/>
            <a:ext cx="1489408" cy="42895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BE09AA68-A3EA-4C20-AB41-60DCDDAABB39}"/>
                  </a:ext>
                </a:extLst>
              </p14:cNvPr>
              <p14:cNvContentPartPr/>
              <p14:nvPr/>
            </p14:nvContentPartPr>
            <p14:xfrm>
              <a:off x="7498690" y="3210515"/>
              <a:ext cx="591120" cy="32976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BE09AA68-A3EA-4C20-AB41-60DCDDAABB3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489690" y="3201515"/>
                <a:ext cx="608760" cy="347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E37C7793-9552-499D-AECE-D5C01E8399C7}"/>
                  </a:ext>
                </a:extLst>
              </p14:cNvPr>
              <p14:cNvContentPartPr/>
              <p14:nvPr/>
            </p14:nvContentPartPr>
            <p14:xfrm>
              <a:off x="8044748" y="3494651"/>
              <a:ext cx="46800" cy="345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E37C7793-9552-499D-AECE-D5C01E8399C7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035817" y="3485651"/>
                <a:ext cx="64305" cy="52200"/>
              </a:xfrm>
              <a:prstGeom prst="rect">
                <a:avLst/>
              </a:prstGeom>
            </p:spPr>
          </p:pic>
        </mc:Fallback>
      </mc:AlternateContent>
      <p:grpSp>
        <p:nvGrpSpPr>
          <p:cNvPr id="14" name="Group 13">
            <a:extLst>
              <a:ext uri="{FF2B5EF4-FFF2-40B4-BE49-F238E27FC236}">
                <a16:creationId xmlns:a16="http://schemas.microsoft.com/office/drawing/2014/main" id="{95517DED-D0A2-4ABC-BB58-C0982D2D2B5D}"/>
              </a:ext>
            </a:extLst>
          </p:cNvPr>
          <p:cNvGrpSpPr/>
          <p:nvPr/>
        </p:nvGrpSpPr>
        <p:grpSpPr>
          <a:xfrm>
            <a:off x="7347255" y="3226890"/>
            <a:ext cx="384653" cy="459000"/>
            <a:chOff x="7347255" y="3179265"/>
            <a:chExt cx="384653" cy="4590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15" name="Ink 14">
                  <a:extLst>
                    <a:ext uri="{FF2B5EF4-FFF2-40B4-BE49-F238E27FC236}">
                      <a16:creationId xmlns:a16="http://schemas.microsoft.com/office/drawing/2014/main" id="{C3B29336-2C99-47E2-AF38-76C2C24698B8}"/>
                    </a:ext>
                  </a:extLst>
                </p14:cNvPr>
                <p14:cNvContentPartPr/>
                <p14:nvPr/>
              </p14:nvContentPartPr>
              <p14:xfrm>
                <a:off x="7347255" y="3179265"/>
                <a:ext cx="377280" cy="440280"/>
              </p14:xfrm>
            </p:contentPart>
          </mc:Choice>
          <mc:Fallback xmlns="">
            <p:pic>
              <p:nvPicPr>
                <p:cNvPr id="15" name="Ink 14">
                  <a:extLst>
                    <a:ext uri="{FF2B5EF4-FFF2-40B4-BE49-F238E27FC236}">
                      <a16:creationId xmlns:a16="http://schemas.microsoft.com/office/drawing/2014/main" id="{C3B29336-2C99-47E2-AF38-76C2C24698B8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338264" y="3170265"/>
                  <a:ext cx="394903" cy="4579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A99C5903-D8AF-4544-9828-FDF934D9BFE2}"/>
                    </a:ext>
                  </a:extLst>
                </p14:cNvPr>
                <p14:cNvContentPartPr/>
                <p14:nvPr/>
              </p14:nvContentPartPr>
              <p14:xfrm>
                <a:off x="7694655" y="3596865"/>
                <a:ext cx="29880" cy="4140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A99C5903-D8AF-4544-9828-FDF934D9BFE2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685655" y="3587865"/>
                  <a:ext cx="47520" cy="59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CEA29AF9-29DD-4FBA-AA7B-4DD0BA07B6DC}"/>
                    </a:ext>
                  </a:extLst>
                </p14:cNvPr>
                <p14:cNvContentPartPr/>
                <p14:nvPr/>
              </p14:nvContentPartPr>
              <p14:xfrm>
                <a:off x="7670708" y="3589946"/>
                <a:ext cx="61200" cy="4176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CEA29AF9-29DD-4FBA-AA7B-4DD0BA07B6DC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661708" y="3580946"/>
                  <a:ext cx="78840" cy="594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8" name="Ink 17">
                  <a:extLst>
                    <a:ext uri="{FF2B5EF4-FFF2-40B4-BE49-F238E27FC236}">
                      <a16:creationId xmlns:a16="http://schemas.microsoft.com/office/drawing/2014/main" id="{406B370E-B5DD-42F3-BAAE-E2FDBD66C013}"/>
                    </a:ext>
                  </a:extLst>
                </p14:cNvPr>
                <p14:cNvContentPartPr/>
                <p14:nvPr/>
              </p14:nvContentPartPr>
              <p14:xfrm>
                <a:off x="7627868" y="3570506"/>
                <a:ext cx="101160" cy="49320"/>
              </p14:xfrm>
            </p:contentPart>
          </mc:Choice>
          <mc:Fallback xmlns="">
            <p:pic>
              <p:nvPicPr>
                <p:cNvPr id="18" name="Ink 17">
                  <a:extLst>
                    <a:ext uri="{FF2B5EF4-FFF2-40B4-BE49-F238E27FC236}">
                      <a16:creationId xmlns:a16="http://schemas.microsoft.com/office/drawing/2014/main" id="{406B370E-B5DD-42F3-BAAE-E2FDBD66C013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7618868" y="3561506"/>
                  <a:ext cx="118800" cy="669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B3AB5933-F847-4D6F-B81F-842CB20B12F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169360">
            <a:off x="4841871" y="3687784"/>
            <a:ext cx="959310" cy="78311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32515963-10C6-48D7-8545-16D57FC98499}"/>
                  </a:ext>
                </a:extLst>
              </p14:cNvPr>
              <p14:cNvContentPartPr/>
              <p14:nvPr/>
            </p14:nvContentPartPr>
            <p14:xfrm>
              <a:off x="5889465" y="3231980"/>
              <a:ext cx="695880" cy="91224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32515963-10C6-48D7-8545-16D57FC98499}"/>
                  </a:ext>
                </a:extLst>
              </p:cNvPr>
              <p:cNvPicPr/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5880465" y="3222976"/>
                <a:ext cx="713520" cy="92988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21" name="Ink 20">
                <a:extLst>
                  <a:ext uri="{FF2B5EF4-FFF2-40B4-BE49-F238E27FC236}">
                    <a16:creationId xmlns:a16="http://schemas.microsoft.com/office/drawing/2014/main" id="{F021B288-144C-4471-990A-2B2BCFAE2567}"/>
                  </a:ext>
                </a:extLst>
              </p14:cNvPr>
              <p14:cNvContentPartPr/>
              <p14:nvPr/>
            </p14:nvContentPartPr>
            <p14:xfrm>
              <a:off x="5859225" y="4139900"/>
              <a:ext cx="49680" cy="10080"/>
            </p14:xfrm>
          </p:contentPart>
        </mc:Choice>
        <mc:Fallback xmlns="">
          <p:pic>
            <p:nvPicPr>
              <p:cNvPr id="21" name="Ink 20">
                <a:extLst>
                  <a:ext uri="{FF2B5EF4-FFF2-40B4-BE49-F238E27FC236}">
                    <a16:creationId xmlns:a16="http://schemas.microsoft.com/office/drawing/2014/main" id="{F021B288-144C-4471-990A-2B2BCFAE2567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5850225" y="4130900"/>
                <a:ext cx="67320" cy="27720"/>
              </a:xfrm>
              <a:prstGeom prst="rect">
                <a:avLst/>
              </a:prstGeom>
            </p:spPr>
          </p:pic>
        </mc:Fallback>
      </mc:AlternateContent>
      <p:pic>
        <p:nvPicPr>
          <p:cNvPr id="22" name="Picture 21">
            <a:extLst>
              <a:ext uri="{FF2B5EF4-FFF2-40B4-BE49-F238E27FC236}">
                <a16:creationId xmlns:a16="http://schemas.microsoft.com/office/drawing/2014/main" id="{2B2A7F67-3D52-47BA-8272-34E16575EFD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1159" y="2155504"/>
            <a:ext cx="1770492" cy="1080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EB7EAE6-8C81-229E-178C-2746ED13AA39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07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BA92A24-97BF-4E74-90FE-8846ACDA66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3544" y="1312069"/>
            <a:ext cx="5382816" cy="3201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marR="0" lvl="2" indent="-214313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>
                <a:tab pos="998935" algn="l"/>
              </a:tabLst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717171"/>
              </a:solidFill>
              <a:effectLst/>
              <a:uLnTx/>
              <a:uFillTx/>
              <a:latin typeface="Calibri Light" pitchFamily="34" charset="0"/>
              <a:ea typeface="+mn-ea"/>
              <a:cs typeface="+mn-cs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6D1D3269-4779-4898-926A-B5E62E18B38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56052" y="367206"/>
            <a:ext cx="5080280" cy="529696"/>
          </a:xfrm>
        </p:spPr>
        <p:txBody>
          <a:bodyPr/>
          <a:lstStyle/>
          <a:p>
            <a:pPr>
              <a:defRPr/>
            </a:pPr>
            <a:r>
              <a:rPr lang="en-US" sz="1650" noProof="0" dirty="0"/>
              <a:t>Thermal energy meter</a:t>
            </a:r>
            <a:br>
              <a:rPr lang="en-US" noProof="0" dirty="0"/>
            </a:br>
            <a:r>
              <a:rPr lang="en-US" sz="1350" i="1" dirty="0"/>
              <a:t>- Legal metrology, heat</a:t>
            </a:r>
            <a:endParaRPr lang="en-US" sz="1350" i="1" noProof="0" dirty="0"/>
          </a:p>
        </p:txBody>
      </p:sp>
      <p:pic>
        <p:nvPicPr>
          <p:cNvPr id="2" name="Picture 1" descr="A close-up of a document&#10;&#10;Description automatically generated">
            <a:extLst>
              <a:ext uri="{FF2B5EF4-FFF2-40B4-BE49-F238E27FC236}">
                <a16:creationId xmlns:a16="http://schemas.microsoft.com/office/drawing/2014/main" id="{1B0A4622-E059-46EA-A011-9FA141949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453" y="888271"/>
            <a:ext cx="2546492" cy="360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 descr="A red circle with white text&#10;&#10;Description automatically generated with low confidence">
            <a:extLst>
              <a:ext uri="{FF2B5EF4-FFF2-40B4-BE49-F238E27FC236}">
                <a16:creationId xmlns:a16="http://schemas.microsoft.com/office/drawing/2014/main" id="{453B5B15-2D73-47B7-835A-F478F708E5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245" y="293242"/>
            <a:ext cx="323850" cy="323850"/>
          </a:xfrm>
          <a:prstGeom prst="rect">
            <a:avLst/>
          </a:prstGeom>
        </p:spPr>
      </p:pic>
      <p:pic>
        <p:nvPicPr>
          <p:cNvPr id="4" name="Picture 3" descr="A close-up of a document&#10;&#10;Description automatically generated">
            <a:extLst>
              <a:ext uri="{FF2B5EF4-FFF2-40B4-BE49-F238E27FC236}">
                <a16:creationId xmlns:a16="http://schemas.microsoft.com/office/drawing/2014/main" id="{34B04ED5-E160-8FDA-0234-F81F14F306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1013" y="1030641"/>
            <a:ext cx="2546492" cy="360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4E3F134-7E28-0517-3CF3-763EFB95BF29}"/>
              </a:ext>
            </a:extLst>
          </p:cNvPr>
          <p:cNvSpPr txBox="1">
            <a:spLocks/>
          </p:cNvSpPr>
          <p:nvPr/>
        </p:nvSpPr>
        <p:spPr>
          <a:xfrm>
            <a:off x="4898145" y="896902"/>
            <a:ext cx="3959225" cy="348459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79388" algn="l" defTabSz="914400" rtl="0" eaLnBrk="1" latinLnBrk="0" hangingPunct="1">
              <a:lnSpc>
                <a:spcPct val="13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2300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>
              <a:solidFill>
                <a:srgbClr val="000000"/>
              </a:solidFill>
              <a:latin typeface="Calibri Ligh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>
              <a:solidFill>
                <a:srgbClr val="000000"/>
              </a:solidFill>
              <a:latin typeface="Calibri Ligh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>
              <a:solidFill>
                <a:srgbClr val="000000"/>
              </a:solidFill>
              <a:latin typeface="Calibri Ligh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>
                <a:solidFill>
                  <a:srgbClr val="000000"/>
                </a:solidFill>
                <a:latin typeface="Calibri Light"/>
              </a:rPr>
              <a:t>A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proved according to Measuring Instrument Directive 2014/32/EU (MID), Modul B and D – MID004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S EN 1434:2022 - Heat meters to comply with revision to the EN1434   -  British &amp; European Standard</a:t>
            </a: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de-DE" dirty="0">
              <a:solidFill>
                <a:srgbClr val="000000"/>
              </a:solidFill>
              <a:latin typeface="Calibri Light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de-DE" dirty="0">
              <a:solidFill>
                <a:srgbClr val="000000"/>
              </a:solidFill>
              <a:latin typeface="Calibri Ligh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DF5171-7F50-7301-81DF-1A6209B00FA8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2940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DD38F-ABC2-E1DC-C4A3-6711AB8A8B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libration certificat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86760A-BC0B-5937-CD87-BEFD6C2B3E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077" y="1536139"/>
            <a:ext cx="3947923" cy="1133059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15A5AD2-8D1B-1FBE-D829-4D39D089E4D7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922F6F-9844-E0DE-9D23-9146100E05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2014178"/>
            <a:ext cx="3967628" cy="168718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9EE7163-17A4-7907-0809-9F09BB7267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3123" y="3373989"/>
            <a:ext cx="4168878" cy="118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345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3E8DFA-F4B7-7BA0-DF47-71FD8AA1B8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909" y="539999"/>
            <a:ext cx="8654265" cy="939395"/>
          </a:xfrm>
        </p:spPr>
        <p:txBody>
          <a:bodyPr/>
          <a:lstStyle/>
          <a:p>
            <a:r>
              <a:rPr lang="en-US" dirty="0"/>
              <a:t>The billing application:</a:t>
            </a:r>
            <a:br>
              <a:rPr lang="en-US" sz="2000" dirty="0"/>
            </a:br>
            <a:endParaRPr lang="da-DK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F53207-BE46-6F9D-90BB-1AF3EA606C6E}"/>
              </a:ext>
            </a:extLst>
          </p:cNvPr>
          <p:cNvSpPr txBox="1"/>
          <p:nvPr/>
        </p:nvSpPr>
        <p:spPr>
          <a:xfrm>
            <a:off x="352726" y="1213712"/>
            <a:ext cx="57277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Standard application with </a:t>
            </a:r>
            <a:r>
              <a:rPr lang="en-US" sz="1500" u="sng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one</a:t>
            </a: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 flow sensor, in either inlet or outlet, </a:t>
            </a:r>
          </a:p>
          <a:p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and </a:t>
            </a:r>
            <a:r>
              <a:rPr lang="en-US" sz="1500" u="sng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two</a:t>
            </a:r>
            <a:r>
              <a:rPr lang="en-US" sz="1500" dirty="0">
                <a:solidFill>
                  <a:schemeClr val="tx1">
                    <a:lumMod val="50000"/>
                  </a:schemeClr>
                </a:solidFill>
                <a:latin typeface="Calibri Light" pitchFamily="34" charset="0"/>
              </a:rPr>
              <a:t> temperature sensor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B49A85-0AEF-815B-6C97-F5FFA07836F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116" y="2096465"/>
            <a:ext cx="3600972" cy="25188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C95F56C-3F4B-BB7F-B7CF-E0FBBBBF6D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939" y="2746335"/>
            <a:ext cx="1115374" cy="6803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094D88-663A-3F64-AEFC-34606DC6A5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6939" y="3763853"/>
            <a:ext cx="1115376" cy="12603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6712D20-7D14-4FED-602B-4A37B121CF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2103" y="1756276"/>
            <a:ext cx="1115376" cy="680378"/>
          </a:xfrm>
          <a:prstGeom prst="rect">
            <a:avLst/>
          </a:prstGeom>
        </p:spPr>
      </p:pic>
      <p:pic>
        <p:nvPicPr>
          <p:cNvPr id="4" name="Picture 3" descr="Close-up of a white electronic device&#10;&#10;Description automatically generated">
            <a:extLst>
              <a:ext uri="{FF2B5EF4-FFF2-40B4-BE49-F238E27FC236}">
                <a16:creationId xmlns:a16="http://schemas.microsoft.com/office/drawing/2014/main" id="{C1A9F95F-2FF1-C837-C627-A1493141C6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32103" y="926912"/>
            <a:ext cx="1115376" cy="57511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7519EB8-5D63-3F59-392F-8FAB8A00E4A4}"/>
              </a:ext>
            </a:extLst>
          </p:cNvPr>
          <p:cNvSpPr txBox="1"/>
          <p:nvPr/>
        </p:nvSpPr>
        <p:spPr>
          <a:xfrm>
            <a:off x="7800959" y="828991"/>
            <a:ext cx="5963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/>
                </a:solidFill>
                <a:latin typeface="Wingdings" panose="05000000000000000000" pitchFamily="2" charset="2"/>
              </a:rPr>
              <a:t>ü</a:t>
            </a:r>
            <a:endParaRPr lang="en-US" sz="1800" dirty="0">
              <a:solidFill>
                <a:schemeClr val="accent1"/>
              </a:solidFill>
              <a:latin typeface="MS Shell Dlg 2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B9B03C-3873-8DB8-EA67-05263202BFDC}"/>
              </a:ext>
            </a:extLst>
          </p:cNvPr>
          <p:cNvSpPr txBox="1"/>
          <p:nvPr/>
        </p:nvSpPr>
        <p:spPr>
          <a:xfrm>
            <a:off x="7800959" y="1711744"/>
            <a:ext cx="5963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/>
                </a:solidFill>
                <a:latin typeface="Wingdings" panose="05000000000000000000" pitchFamily="2" charset="2"/>
              </a:rPr>
              <a:t>ü</a:t>
            </a:r>
            <a:endParaRPr lang="en-US" sz="1800" dirty="0">
              <a:solidFill>
                <a:schemeClr val="accent1"/>
              </a:solidFill>
              <a:latin typeface="MS Shell Dlg 2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17C5786-B189-8880-2112-8AEDB106D95B}"/>
              </a:ext>
            </a:extLst>
          </p:cNvPr>
          <p:cNvSpPr txBox="1"/>
          <p:nvPr/>
        </p:nvSpPr>
        <p:spPr>
          <a:xfrm>
            <a:off x="7800959" y="2657500"/>
            <a:ext cx="5963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/>
                </a:solidFill>
                <a:latin typeface="Wingdings" panose="05000000000000000000" pitchFamily="2" charset="2"/>
              </a:rPr>
              <a:t>ü</a:t>
            </a:r>
            <a:endParaRPr lang="en-US" sz="1800" dirty="0">
              <a:solidFill>
                <a:schemeClr val="accent1"/>
              </a:solidFill>
              <a:latin typeface="MS Shell Dlg 2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192AABE-2F89-B511-C3F2-8BCA36CA116C}"/>
              </a:ext>
            </a:extLst>
          </p:cNvPr>
          <p:cNvSpPr txBox="1"/>
          <p:nvPr/>
        </p:nvSpPr>
        <p:spPr>
          <a:xfrm>
            <a:off x="7800959" y="3929788"/>
            <a:ext cx="5963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/>
                </a:solidFill>
                <a:latin typeface="Wingdings" panose="05000000000000000000" pitchFamily="2" charset="2"/>
              </a:rPr>
              <a:t>ü</a:t>
            </a:r>
            <a:endParaRPr lang="en-US" sz="1800" dirty="0">
              <a:solidFill>
                <a:schemeClr val="accent1"/>
              </a:solidFill>
              <a:latin typeface="MS Shell Dlg 2" panose="020B060403050404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1CB3683-0012-0855-CB3C-6DAAE11C30DF}"/>
              </a:ext>
            </a:extLst>
          </p:cNvPr>
          <p:cNvSpPr/>
          <p:nvPr/>
        </p:nvSpPr>
        <p:spPr>
          <a:xfrm>
            <a:off x="7482349" y="145980"/>
            <a:ext cx="1661651" cy="442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181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mstrup Public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_15.potx" id="{C1DB4096-6797-4DD5-9CCA-163B083FF904}" vid="{007CD54C-8DA6-4694-969B-C32B793DF26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Kamstrup Internal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_15.potx" id="{C1DB4096-6797-4DD5-9CCA-163B083FF904}" vid="{735A5F38-49B3-4AEA-BD85-E884B62B715D}"/>
    </a:ext>
  </a:extLst>
</a:theme>
</file>

<file path=ppt/theme/theme3.xml><?xml version="1.0" encoding="utf-8"?>
<a:theme xmlns:a="http://schemas.openxmlformats.org/drawingml/2006/main" name="Kamstrup Confidential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_15.potx" id="{C1DB4096-6797-4DD5-9CCA-163B083FF904}" vid="{8B7A97A8-623C-447E-AB3A-993EBDADDD74}"/>
    </a:ext>
  </a:extLst>
</a:theme>
</file>

<file path=ppt/theme/theme4.xml><?xml version="1.0" encoding="utf-8"?>
<a:theme xmlns:a="http://schemas.openxmlformats.org/drawingml/2006/main" name="Kamstrup Strictly confidential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_15.potx" id="{C1DB4096-6797-4DD5-9CCA-163B083FF904}" vid="{8EA45CCF-1A4E-43B0-9509-5C2330D547B8}"/>
    </a:ext>
  </a:extLst>
</a:theme>
</file>

<file path=ppt/theme/theme5.xml><?xml version="1.0" encoding="utf-8"?>
<a:theme xmlns:a="http://schemas.openxmlformats.org/drawingml/2006/main" name="4_Kamstrup Public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Presentation1" id="{0C1CCDF8-F16F-4515-B10C-D1E21A84F905}" vid="{DE82F0AD-BD43-4964-998F-55FA72F1B710}"/>
    </a:ext>
  </a:extLst>
</a:theme>
</file>

<file path=ppt/theme/theme6.xml><?xml version="1.0" encoding="utf-8"?>
<a:theme xmlns:a="http://schemas.openxmlformats.org/drawingml/2006/main" name="2_Kamstrup Public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2600" dirty="0" smtClean="0">
            <a:solidFill>
              <a:schemeClr val="accent1"/>
            </a:solidFill>
          </a:defRPr>
        </a:defPPr>
      </a:lstStyle>
    </a:txDef>
  </a:objectDefaults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  -  Read-Only" id="{BA5EC5FC-3B18-493E-A4B6-12AD9E394CC7}" vid="{2F3A0FFA-907E-4B94-AEE4-CFE84D500C3D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Kamstrup Public Template">
  <a:themeElements>
    <a:clrScheme name="KAMSTRUP">
      <a:dk1>
        <a:srgbClr val="000000"/>
      </a:dk1>
      <a:lt1>
        <a:srgbClr val="FFFFFF"/>
      </a:lt1>
      <a:dk2>
        <a:srgbClr val="56565A"/>
      </a:dk2>
      <a:lt2>
        <a:srgbClr val="BBBCBC"/>
      </a:lt2>
      <a:accent1>
        <a:srgbClr val="009CA6"/>
      </a:accent1>
      <a:accent2>
        <a:srgbClr val="4CBAC1"/>
      </a:accent2>
      <a:accent3>
        <a:srgbClr val="7FCDD2"/>
      </a:accent3>
      <a:accent4>
        <a:srgbClr val="B2E1E4"/>
      </a:accent4>
      <a:accent5>
        <a:srgbClr val="E5F5F6"/>
      </a:accent5>
      <a:accent6>
        <a:srgbClr val="E5E5E5"/>
      </a:accent6>
      <a:hlink>
        <a:srgbClr val="009CA6"/>
      </a:hlink>
      <a:folHlink>
        <a:srgbClr val="009CA6"/>
      </a:folHlink>
    </a:clrScheme>
    <a:fontScheme name="KAMSTRUP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1">
      <a:srgbClr val="009BA6"/>
    </a:custClr>
    <a:custClr name="2">
      <a:srgbClr val="1AA5AF"/>
    </a:custClr>
    <a:custClr name="3">
      <a:srgbClr val="33AFB8"/>
    </a:custClr>
    <a:custClr name="4">
      <a:srgbClr val="4DBAC1"/>
    </a:custClr>
    <a:custClr name="5">
      <a:srgbClr val="66C4CA"/>
    </a:custClr>
    <a:custClr name="6">
      <a:srgbClr val="7FCDD2"/>
    </a:custClr>
    <a:custClr name="7">
      <a:srgbClr val="99D7DB"/>
    </a:custClr>
    <a:custClr name="8">
      <a:srgbClr val="B2E1E4"/>
    </a:custClr>
    <a:custClr name="9">
      <a:srgbClr val="CCEBED"/>
    </a:custClr>
    <a:custClr name="10">
      <a:srgbClr val="E5F5F6"/>
    </a:custClr>
    <a:custClr name="11">
      <a:srgbClr val="BBBCBC"/>
    </a:custClr>
    <a:custClr name="12">
      <a:srgbClr val="C2C3C3"/>
    </a:custClr>
    <a:custClr name="13">
      <a:srgbClr val="C9C9C9"/>
    </a:custClr>
    <a:custClr name="14">
      <a:srgbClr val="D0D0D0"/>
    </a:custClr>
    <a:custClr name="15">
      <a:srgbClr val="D6D7D7"/>
    </a:custClr>
    <a:custClr name="16">
      <a:srgbClr val="DDDDDD"/>
    </a:custClr>
    <a:custClr name="17">
      <a:srgbClr val="E4E4E4"/>
    </a:custClr>
    <a:custClr name="18">
      <a:srgbClr val="EAEBEB"/>
    </a:custClr>
    <a:custClr name="19">
      <a:srgbClr val="F1F2F2"/>
    </a:custClr>
    <a:custClr name="20">
      <a:srgbClr val="F8F8F8"/>
    </a:custClr>
    <a:custClr name="21">
      <a:srgbClr val="56565A"/>
    </a:custClr>
    <a:custClr name="22">
      <a:srgbClr val="969696"/>
    </a:custClr>
    <a:custClr name="23">
      <a:srgbClr val="78787B"/>
    </a:custClr>
    <a:custClr name="24">
      <a:srgbClr val="89898C"/>
    </a:custClr>
    <a:custClr name="25">
      <a:srgbClr val="9A9A9C"/>
    </a:custClr>
    <a:custClr name="26">
      <a:srgbClr val="AAAAAC"/>
    </a:custClr>
    <a:custClr name="27">
      <a:srgbClr val="BBBBBD"/>
    </a:custClr>
    <a:custClr name="28">
      <a:srgbClr val="CCCCCD"/>
    </a:custClr>
    <a:custClr name="29">
      <a:srgbClr val="DDDDDE"/>
    </a:custClr>
    <a:custClr name="30">
      <a:srgbClr val="BC0033"/>
    </a:custClr>
    <a:custClr name="31">
      <a:srgbClr val="500778"/>
    </a:custClr>
    <a:custClr name="32">
      <a:srgbClr val="B580D1"/>
    </a:custClr>
    <a:custClr name="33">
      <a:srgbClr val="005EB8"/>
    </a:custClr>
    <a:custClr name="34">
      <a:srgbClr val="009CDE"/>
    </a:custClr>
    <a:custClr name="35">
      <a:srgbClr val="4B9560"/>
    </a:custClr>
    <a:custClr name="36">
      <a:srgbClr val="ADDC91"/>
    </a:custClr>
    <a:custClr name="37">
      <a:srgbClr val="6D712E"/>
    </a:custClr>
    <a:custClr name="38">
      <a:srgbClr val="CEDC00"/>
    </a:custClr>
    <a:custClr name="39">
      <a:srgbClr val="F2A900"/>
    </a:custClr>
    <a:custClr name="40">
      <a:srgbClr val="FEDD00"/>
    </a:custClr>
  </a:custClrLst>
  <a:extLst>
    <a:ext uri="{05A4C25C-085E-4340-85A3-A5531E510DB2}">
      <thm15:themeFamily xmlns:thm15="http://schemas.microsoft.com/office/thememl/2012/main" name="Kamstrup_ppt_Template_15.potx" id="{C1DB4096-6797-4DD5-9CCA-163B083FF904}" vid="{007CD54C-8DA6-4694-969B-C32B793DF26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D93A85F7E5C74E826B30A3B72F2EBF" ma:contentTypeVersion="19" ma:contentTypeDescription="Create a new document." ma:contentTypeScope="" ma:versionID="a5fe7e5c956e529f78b5254871144b9d">
  <xsd:schema xmlns:xsd="http://www.w3.org/2001/XMLSchema" xmlns:xs="http://www.w3.org/2001/XMLSchema" xmlns:p="http://schemas.microsoft.com/office/2006/metadata/properties" xmlns:ns2="dc1f5f8c-4c80-4772-9653-4b5b4d723276" xmlns:ns3="8d5eb4e3-684d-4aa5-86ec-573e7cb7bf61" targetNamespace="http://schemas.microsoft.com/office/2006/metadata/properties" ma:root="true" ma:fieldsID="44c0eaa1678e6112a596471321d4eae0" ns2:_="" ns3:_="">
    <xsd:import namespace="dc1f5f8c-4c80-4772-9653-4b5b4d723276"/>
    <xsd:import namespace="8d5eb4e3-684d-4aa5-86ec-573e7cb7bf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DON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1f5f8c-4c80-4772-9653-4b5b4d7232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83c64a-7913-40cc-aea5-1b6d56500e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DONE" ma:index="25" nillable="true" ma:displayName="DONE" ma:format="Dropdown" ma:internalName="DONE">
      <xsd:simpleType>
        <xsd:restriction base="dms:Choice">
          <xsd:enumeration value="DONE"/>
          <xsd:enumeration value="Choice 2"/>
          <xsd:enumeration value="Choice 3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5eb4e3-684d-4aa5-86ec-573e7cb7bf6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75892721-0fd8-480b-8e5c-bb881955d2e1}" ma:internalName="TaxCatchAll" ma:showField="CatchAllData" ma:web="8d5eb4e3-684d-4aa5-86ec-573e7cb7bf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358FB2-3911-499B-B8F8-9F5FF906A8D3}"/>
</file>

<file path=customXml/itemProps2.xml><?xml version="1.0" encoding="utf-8"?>
<ds:datastoreItem xmlns:ds="http://schemas.openxmlformats.org/officeDocument/2006/customXml" ds:itemID="{9B65B56F-37C8-4B84-AC6D-7586631B8DD2}"/>
</file>

<file path=docProps/app.xml><?xml version="1.0" encoding="utf-8"?>
<Properties xmlns="http://schemas.openxmlformats.org/officeDocument/2006/extended-properties" xmlns:vt="http://schemas.openxmlformats.org/officeDocument/2006/docPropsVTypes">
  <Template>Kamstrup_ppt_241023</Template>
  <TotalTime>4473</TotalTime>
  <Words>930</Words>
  <Application>Microsoft Office PowerPoint</Application>
  <PresentationFormat>On-screen Show (16:9)</PresentationFormat>
  <Paragraphs>179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3" baseType="lpstr">
      <vt:lpstr>Aptos</vt:lpstr>
      <vt:lpstr>Arial</vt:lpstr>
      <vt:lpstr>Calibri</vt:lpstr>
      <vt:lpstr>Calibri Light</vt:lpstr>
      <vt:lpstr>Canva Sans</vt:lpstr>
      <vt:lpstr>MS Shell Dlg 2</vt:lpstr>
      <vt:lpstr>Public Sans</vt:lpstr>
      <vt:lpstr>Symbol</vt:lpstr>
      <vt:lpstr>Times New Roman</vt:lpstr>
      <vt:lpstr>Wingdings</vt:lpstr>
      <vt:lpstr>Kamstrup Public Template</vt:lpstr>
      <vt:lpstr>Kamstrup Internal Template</vt:lpstr>
      <vt:lpstr>Kamstrup Confidential Template</vt:lpstr>
      <vt:lpstr>Kamstrup Strictly confidential Template</vt:lpstr>
      <vt:lpstr>4_Kamstrup Public Template</vt:lpstr>
      <vt:lpstr>2_Kamstrup Public Template</vt:lpstr>
      <vt:lpstr>Office Theme</vt:lpstr>
      <vt:lpstr>1_Kamstrup Public Template</vt:lpstr>
      <vt:lpstr>think-cell Slide</vt:lpstr>
      <vt:lpstr>PowerPoint Presentation</vt:lpstr>
      <vt:lpstr>PowerPoint Presentation</vt:lpstr>
      <vt:lpstr>Background: </vt:lpstr>
      <vt:lpstr>Heat Network (Metering and Billing) Regulations 2014:  </vt:lpstr>
      <vt:lpstr>Thermal energy meters</vt:lpstr>
      <vt:lpstr>Thermal energy meter - How does it work?</vt:lpstr>
      <vt:lpstr>Thermal energy meter - Legal metrology, heat</vt:lpstr>
      <vt:lpstr>Calibration certificates</vt:lpstr>
      <vt:lpstr>The billing application: </vt:lpstr>
      <vt:lpstr>Application sectors </vt:lpstr>
      <vt:lpstr>History</vt:lpstr>
      <vt:lpstr>Installation, best practice and common mistakes: </vt:lpstr>
      <vt:lpstr>PowerPoint Presentation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 Partner Update</dc:title>
  <dc:creator>Arpit Sharma</dc:creator>
  <cp:lastModifiedBy>Connor Garnett</cp:lastModifiedBy>
  <cp:revision>146</cp:revision>
  <cp:lastPrinted>2024-10-15T08:38:42Z</cp:lastPrinted>
  <dcterms:created xsi:type="dcterms:W3CDTF">2024-03-12T11:23:08Z</dcterms:created>
  <dcterms:modified xsi:type="dcterms:W3CDTF">2024-10-15T14:39:54Z</dcterms:modified>
</cp:coreProperties>
</file>